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3.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4.xml" ContentType="application/vnd.openxmlformats-officedocument.theme+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75" r:id="rId4"/>
    <p:sldMasterId id="2147483904" r:id="rId5"/>
    <p:sldMasterId id="2147483949" r:id="rId6"/>
    <p:sldMasterId id="2147483973" r:id="rId7"/>
    <p:sldMasterId id="2147483999" r:id="rId8"/>
  </p:sldMasterIdLst>
  <p:notesMasterIdLst>
    <p:notesMasterId r:id="rId36"/>
  </p:notesMasterIdLst>
  <p:handoutMasterIdLst>
    <p:handoutMasterId r:id="rId37"/>
  </p:handoutMasterIdLst>
  <p:sldIdLst>
    <p:sldId id="257" r:id="rId9"/>
    <p:sldId id="351" r:id="rId10"/>
    <p:sldId id="313" r:id="rId11"/>
    <p:sldId id="316" r:id="rId12"/>
    <p:sldId id="315" r:id="rId13"/>
    <p:sldId id="314" r:id="rId14"/>
    <p:sldId id="260" r:id="rId15"/>
    <p:sldId id="346" r:id="rId16"/>
    <p:sldId id="336" r:id="rId17"/>
    <p:sldId id="354" r:id="rId18"/>
    <p:sldId id="324" r:id="rId19"/>
    <p:sldId id="326" r:id="rId20"/>
    <p:sldId id="328" r:id="rId21"/>
    <p:sldId id="330" r:id="rId22"/>
    <p:sldId id="343" r:id="rId23"/>
    <p:sldId id="348" r:id="rId24"/>
    <p:sldId id="345" r:id="rId25"/>
    <p:sldId id="341" r:id="rId26"/>
    <p:sldId id="342" r:id="rId27"/>
    <p:sldId id="271" r:id="rId28"/>
    <p:sldId id="349" r:id="rId29"/>
    <p:sldId id="267" r:id="rId30"/>
    <p:sldId id="347" r:id="rId31"/>
    <p:sldId id="275" r:id="rId32"/>
    <p:sldId id="353" r:id="rId33"/>
    <p:sldId id="350" r:id="rId34"/>
    <p:sldId id="352" r:id="rId3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2AAB5E2D-5983-4028-8C19-0A4FEC6861CD}">
          <p14:sldIdLst>
            <p14:sldId id="257"/>
          </p14:sldIdLst>
        </p14:section>
        <p14:section name="Target Audience" id="{6ADEFE1A-D3D7-4E00-9BD5-1439128C825F}">
          <p14:sldIdLst>
            <p14:sldId id="351"/>
          </p14:sldIdLst>
        </p14:section>
        <p14:section name="Why Sell EDU Predictive Analytics" id="{CF3A43B8-EF11-4791-A52E-B7F2562E686D}">
          <p14:sldIdLst>
            <p14:sldId id="313"/>
            <p14:sldId id="316"/>
            <p14:sldId id="315"/>
            <p14:sldId id="314"/>
            <p14:sldId id="260"/>
          </p14:sldIdLst>
        </p14:section>
        <p14:section name="How Predictive Analytics Tranforms Education" id="{BA67E0B5-02B9-4CB3-8120-ECBAC2FDB16D}">
          <p14:sldIdLst>
            <p14:sldId id="346"/>
            <p14:sldId id="336"/>
            <p14:sldId id="354"/>
          </p14:sldIdLst>
        </p14:section>
        <p14:section name="Predictive Analytics - Solution Scenarios" id="{455E87BE-1B09-410D-A2CE-1223F63ECFA9}">
          <p14:sldIdLst>
            <p14:sldId id="324"/>
            <p14:sldId id="326"/>
            <p14:sldId id="328"/>
            <p14:sldId id="330"/>
          </p14:sldIdLst>
        </p14:section>
        <p14:section name="Solution" id="{98377964-41D1-4DD9-B37C-8DE954FD0273}">
          <p14:sldIdLst>
            <p14:sldId id="343"/>
            <p14:sldId id="348"/>
            <p14:sldId id="345"/>
          </p14:sldIdLst>
        </p14:section>
        <p14:section name="Offers Template" id="{15FBB5F2-6B9B-457A-95E7-B341EA8CA104}">
          <p14:sldIdLst>
            <p14:sldId id="341"/>
            <p14:sldId id="342"/>
          </p14:sldIdLst>
        </p14:section>
        <p14:section name="The Conversation" id="{9C3BFD98-F51D-4CF5-A28A-F55B2BADD363}">
          <p14:sldIdLst>
            <p14:sldId id="271"/>
            <p14:sldId id="349"/>
            <p14:sldId id="267"/>
            <p14:sldId id="347"/>
            <p14:sldId id="275"/>
            <p14:sldId id="353"/>
          </p14:sldIdLst>
        </p14:section>
        <p14:section name="Close" id="{79E3A25A-68A3-4D02-8554-806F82040844}">
          <p14:sldIdLst>
            <p14:sldId id="350"/>
            <p14:sldId id="352"/>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Nic Wildeman" initials="NW" lastIdx="32" clrIdx="0">
    <p:extLst/>
  </p:cmAuthor>
  <p:cmAuthor id="2" name="Jason Snavlin" initials=""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BA141A"/>
    <a:srgbClr val="E2E2E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1042" autoAdjust="0"/>
    <p:restoredTop sz="74926" autoAdjust="0"/>
  </p:normalViewPr>
  <p:slideViewPr>
    <p:cSldViewPr snapToGrid="0">
      <p:cViewPr varScale="1">
        <p:scale>
          <a:sx n="89" d="100"/>
          <a:sy n="89" d="100"/>
        </p:scale>
        <p:origin x="906" y="96"/>
      </p:cViewPr>
      <p:guideLst>
        <p:guide orient="horz" pos="2160"/>
        <p:guide pos="3840"/>
      </p:guideLst>
    </p:cSldViewPr>
  </p:slideViewPr>
  <p:outlineViewPr>
    <p:cViewPr>
      <p:scale>
        <a:sx n="33" d="100"/>
        <a:sy n="33" d="100"/>
      </p:scale>
      <p:origin x="0" y="-2358"/>
    </p:cViewPr>
  </p:outlineViewPr>
  <p:notesTextViewPr>
    <p:cViewPr>
      <p:scale>
        <a:sx n="1" d="1"/>
        <a:sy n="1" d="1"/>
      </p:scale>
      <p:origin x="0" y="0"/>
    </p:cViewPr>
  </p:notesTextViewPr>
  <p:sorterViewPr>
    <p:cViewPr varScale="1">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notesMaster" Target="notesMasters/notesMaster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latin typeface="Segoe UI"/>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A7FE99B-31A4-8247-A816-89EE90158A75}" type="datetimeFigureOut">
              <a:rPr lang="en-US" smtClean="0">
                <a:latin typeface="Segoe UI"/>
              </a:rPr>
              <a:t>1/16/2018</a:t>
            </a:fld>
            <a:endParaRPr lang="en-US" dirty="0">
              <a:latin typeface="Segoe UI"/>
            </a:endParaRPr>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latin typeface="Segoe UI"/>
            </a:endParaRP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CFEBA1B-56D7-404D-9332-631D2E9B0B92}" type="slidenum">
              <a:rPr lang="en-US" smtClean="0">
                <a:latin typeface="Segoe UI"/>
              </a:rPr>
              <a:t>‹#›</a:t>
            </a:fld>
            <a:endParaRPr lang="en-US" dirty="0">
              <a:latin typeface="Segoe UI"/>
            </a:endParaRPr>
          </a:p>
        </p:txBody>
      </p:sp>
    </p:spTree>
    <p:extLst>
      <p:ext uri="{BB962C8B-B14F-4D97-AF65-F5344CB8AC3E}">
        <p14:creationId xmlns:p14="http://schemas.microsoft.com/office/powerpoint/2010/main" val="95195110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Segoe UI"/>
              </a:defRPr>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Segoe UI"/>
              </a:defRPr>
            </a:lvl1pPr>
          </a:lstStyle>
          <a:p>
            <a:fld id="{A2B97170-937B-44C6-8657-67625BC28C5B}" type="datetimeFigureOut">
              <a:rPr lang="en-US" smtClean="0"/>
              <a:pPr/>
              <a:t>1/16/2018</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Segoe UI"/>
              </a:defRPr>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Segoe UI"/>
              </a:defRPr>
            </a:lvl1pPr>
          </a:lstStyle>
          <a:p>
            <a:fld id="{F3FBD1AB-304A-4466-9410-8654A8815A84}" type="slidenum">
              <a:rPr lang="en-US" smtClean="0"/>
              <a:pPr/>
              <a:t>‹#›</a:t>
            </a:fld>
            <a:endParaRPr lang="en-US" dirty="0"/>
          </a:p>
        </p:txBody>
      </p:sp>
    </p:spTree>
    <p:extLst>
      <p:ext uri="{BB962C8B-B14F-4D97-AF65-F5344CB8AC3E}">
        <p14:creationId xmlns:p14="http://schemas.microsoft.com/office/powerpoint/2010/main" val="12028848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Segoe UI"/>
        <a:ea typeface="+mn-ea"/>
        <a:cs typeface="+mn-cs"/>
      </a:defRPr>
    </a:lvl1pPr>
    <a:lvl2pPr marL="457200" algn="l" defTabSz="914400" rtl="0" eaLnBrk="1" latinLnBrk="0" hangingPunct="1">
      <a:defRPr sz="1200" kern="1200">
        <a:solidFill>
          <a:schemeClr val="tx1"/>
        </a:solidFill>
        <a:latin typeface="Segoe UI"/>
        <a:ea typeface="+mn-ea"/>
        <a:cs typeface="+mn-cs"/>
      </a:defRPr>
    </a:lvl2pPr>
    <a:lvl3pPr marL="914400" algn="l" defTabSz="914400" rtl="0" eaLnBrk="1" latinLnBrk="0" hangingPunct="1">
      <a:defRPr sz="1200" kern="1200">
        <a:solidFill>
          <a:schemeClr val="tx1"/>
        </a:solidFill>
        <a:latin typeface="Segoe UI"/>
        <a:ea typeface="+mn-ea"/>
        <a:cs typeface="+mn-cs"/>
      </a:defRPr>
    </a:lvl3pPr>
    <a:lvl4pPr marL="1371600" algn="l" defTabSz="914400" rtl="0" eaLnBrk="1" latinLnBrk="0" hangingPunct="1">
      <a:defRPr sz="1200" kern="1200">
        <a:solidFill>
          <a:schemeClr val="tx1"/>
        </a:solidFill>
        <a:latin typeface="Segoe UI"/>
        <a:ea typeface="+mn-ea"/>
        <a:cs typeface="+mn-cs"/>
      </a:defRPr>
    </a:lvl4pPr>
    <a:lvl5pPr marL="1828800" algn="l" defTabSz="914400" rtl="0" eaLnBrk="1" latinLnBrk="0" hangingPunct="1">
      <a:defRPr sz="1200" kern="1200">
        <a:solidFill>
          <a:schemeClr val="tx1"/>
        </a:solidFill>
        <a:latin typeface="Segoe UI"/>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3FBD1AB-304A-4466-9410-8654A8815A84}" type="slidenum">
              <a:rPr lang="en-US" smtClean="0"/>
              <a:pPr/>
              <a:t>1</a:t>
            </a:fld>
            <a:endParaRPr lang="en-US" dirty="0"/>
          </a:p>
        </p:txBody>
      </p:sp>
    </p:spTree>
    <p:extLst>
      <p:ext uri="{BB962C8B-B14F-4D97-AF65-F5344CB8AC3E}">
        <p14:creationId xmlns:p14="http://schemas.microsoft.com/office/powerpoint/2010/main" val="19949865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2018 1:37 PM</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2938803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dirty="0">
              <a:solidFill>
                <a:schemeClr val="bg1"/>
              </a:solidFill>
              <a:latin typeface="Segoe UI" panose="020B0502040204020203" pitchFamily="34" charset="0"/>
              <a:ea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3F12727-653D-4DBC-864D-D872D6FAD8B3}"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8656031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sz="900" kern="1200" dirty="0">
              <a:solidFill>
                <a:schemeClr val="tx1"/>
              </a:solidFill>
              <a:effectLst/>
              <a:latin typeface="Segoe UI Light" pitchFamily="34" charset="0"/>
              <a:ea typeface="+mn-ea"/>
              <a:cs typeface="+mn-cs"/>
            </a:endParaRPr>
          </a:p>
        </p:txBody>
      </p:sp>
    </p:spTree>
    <p:extLst>
      <p:ext uri="{BB962C8B-B14F-4D97-AF65-F5344CB8AC3E}">
        <p14:creationId xmlns:p14="http://schemas.microsoft.com/office/powerpoint/2010/main" val="15942654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sz="900" kern="1200" dirty="0">
              <a:solidFill>
                <a:schemeClr val="tx1"/>
              </a:solidFill>
              <a:effectLst/>
              <a:latin typeface="Segoe UI Light" pitchFamily="34" charset="0"/>
              <a:ea typeface="+mn-ea"/>
              <a:cs typeface="+mn-cs"/>
            </a:endParaRPr>
          </a:p>
        </p:txBody>
      </p:sp>
    </p:spTree>
    <p:extLst>
      <p:ext uri="{BB962C8B-B14F-4D97-AF65-F5344CB8AC3E}">
        <p14:creationId xmlns:p14="http://schemas.microsoft.com/office/powerpoint/2010/main" val="177326747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sz="900" kern="1200" dirty="0">
              <a:solidFill>
                <a:schemeClr val="tx1"/>
              </a:solidFill>
              <a:effectLst/>
              <a:latin typeface="Segoe UI Light" pitchFamily="34" charset="0"/>
              <a:ea typeface="+mn-ea"/>
              <a:cs typeface="+mn-cs"/>
            </a:endParaRPr>
          </a:p>
        </p:txBody>
      </p:sp>
    </p:spTree>
    <p:extLst>
      <p:ext uri="{BB962C8B-B14F-4D97-AF65-F5344CB8AC3E}">
        <p14:creationId xmlns:p14="http://schemas.microsoft.com/office/powerpoint/2010/main" val="142459240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3FBD1AB-304A-4466-9410-8654A8815A84}" type="slidenum">
              <a:rPr lang="en-US" smtClean="0"/>
              <a:pPr/>
              <a:t>15</a:t>
            </a:fld>
            <a:endParaRPr lang="en-US" dirty="0"/>
          </a:p>
        </p:txBody>
      </p:sp>
    </p:spTree>
    <p:extLst>
      <p:ext uri="{BB962C8B-B14F-4D97-AF65-F5344CB8AC3E}">
        <p14:creationId xmlns:p14="http://schemas.microsoft.com/office/powerpoint/2010/main" val="150894111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se are common pain points which</a:t>
            </a:r>
            <a:r>
              <a:rPr lang="en-US" baseline="0" dirty="0"/>
              <a:t> can be solved by the features of SQL Server. Noting them can help you advise the prospect of the best solution</a:t>
            </a:r>
            <a:endParaRPr lang="en-US" dirty="0"/>
          </a:p>
        </p:txBody>
      </p:sp>
      <p:sp>
        <p:nvSpPr>
          <p:cNvPr id="4" name="Slide Number Placeholder 3"/>
          <p:cNvSpPr>
            <a:spLocks noGrp="1"/>
          </p:cNvSpPr>
          <p:nvPr>
            <p:ph type="sldNum" sz="quarter" idx="10"/>
          </p:nvPr>
        </p:nvSpPr>
        <p:spPr/>
        <p:txBody>
          <a:bodyPr/>
          <a:lstStyle/>
          <a:p>
            <a:fld id="{F3FBD1AB-304A-4466-9410-8654A8815A84}" type="slidenum">
              <a:rPr lang="en-US" smtClean="0"/>
              <a:t>16</a:t>
            </a:fld>
            <a:endParaRPr lang="en-US" dirty="0"/>
          </a:p>
        </p:txBody>
      </p:sp>
    </p:spTree>
    <p:extLst>
      <p:ext uri="{BB962C8B-B14F-4D97-AF65-F5344CB8AC3E}">
        <p14:creationId xmlns:p14="http://schemas.microsoft.com/office/powerpoint/2010/main" val="67477628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3FBD1AB-304A-4466-9410-8654A8815A84}" type="slidenum">
              <a:rPr lang="en-US" smtClean="0"/>
              <a:pPr/>
              <a:t>17</a:t>
            </a:fld>
            <a:endParaRPr lang="en-US" dirty="0"/>
          </a:p>
        </p:txBody>
      </p:sp>
    </p:spTree>
    <p:extLst>
      <p:ext uri="{BB962C8B-B14F-4D97-AF65-F5344CB8AC3E}">
        <p14:creationId xmlns:p14="http://schemas.microsoft.com/office/powerpoint/2010/main" val="341699637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7E27301-63CA-4B9C-9305-31153B0DB577}" type="slidenum">
              <a:rPr lang="en-US" smtClean="0"/>
              <a:t>18</a:t>
            </a:fld>
            <a:endParaRPr lang="en-US" dirty="0"/>
          </a:p>
        </p:txBody>
      </p:sp>
    </p:spTree>
    <p:extLst>
      <p:ext uri="{BB962C8B-B14F-4D97-AF65-F5344CB8AC3E}">
        <p14:creationId xmlns:p14="http://schemas.microsoft.com/office/powerpoint/2010/main" val="108972700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3FBD1AB-304A-4466-9410-8654A8815A84}" type="slidenum">
              <a:rPr lang="en-US" smtClean="0"/>
              <a:pPr/>
              <a:t>19</a:t>
            </a:fld>
            <a:endParaRPr lang="en-US" dirty="0"/>
          </a:p>
        </p:txBody>
      </p:sp>
    </p:spTree>
    <p:extLst>
      <p:ext uri="{BB962C8B-B14F-4D97-AF65-F5344CB8AC3E}">
        <p14:creationId xmlns:p14="http://schemas.microsoft.com/office/powerpoint/2010/main" val="16573949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BD1AB-304A-4466-9410-8654A8815A84}"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410767164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3FBD1AB-304A-4466-9410-8654A8815A84}" type="slidenum">
              <a:rPr lang="en-US" smtClean="0"/>
              <a:t>20</a:t>
            </a:fld>
            <a:endParaRPr lang="en-US" dirty="0"/>
          </a:p>
        </p:txBody>
      </p:sp>
    </p:spTree>
    <p:extLst>
      <p:ext uri="{BB962C8B-B14F-4D97-AF65-F5344CB8AC3E}">
        <p14:creationId xmlns:p14="http://schemas.microsoft.com/office/powerpoint/2010/main" val="247553529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3FBD1AB-304A-4466-9410-8654A8815A84}" type="slidenum">
              <a:rPr lang="en-US" smtClean="0"/>
              <a:t>21</a:t>
            </a:fld>
            <a:endParaRPr lang="en-US" dirty="0"/>
          </a:p>
        </p:txBody>
      </p:sp>
    </p:spTree>
    <p:extLst>
      <p:ext uri="{BB962C8B-B14F-4D97-AF65-F5344CB8AC3E}">
        <p14:creationId xmlns:p14="http://schemas.microsoft.com/office/powerpoint/2010/main" val="40513269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3FBD1AB-304A-4466-9410-8654A8815A84}" type="slidenum">
              <a:rPr lang="en-US" smtClean="0"/>
              <a:t>22</a:t>
            </a:fld>
            <a:endParaRPr lang="en-US" dirty="0"/>
          </a:p>
        </p:txBody>
      </p:sp>
    </p:spTree>
    <p:extLst>
      <p:ext uri="{BB962C8B-B14F-4D97-AF65-F5344CB8AC3E}">
        <p14:creationId xmlns:p14="http://schemas.microsoft.com/office/powerpoint/2010/main" val="390679408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3FBD1AB-304A-4466-9410-8654A8815A84}" type="slidenum">
              <a:rPr lang="en-US" smtClean="0"/>
              <a:t>23</a:t>
            </a:fld>
            <a:endParaRPr lang="en-US" dirty="0"/>
          </a:p>
        </p:txBody>
      </p:sp>
    </p:spTree>
    <p:extLst>
      <p:ext uri="{BB962C8B-B14F-4D97-AF65-F5344CB8AC3E}">
        <p14:creationId xmlns:p14="http://schemas.microsoft.com/office/powerpoint/2010/main" val="66639108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3FBD1AB-304A-4466-9410-8654A8815A84}" type="slidenum">
              <a:rPr lang="en-US" smtClean="0"/>
              <a:t>24</a:t>
            </a:fld>
            <a:endParaRPr lang="en-US" dirty="0"/>
          </a:p>
        </p:txBody>
      </p:sp>
    </p:spTree>
    <p:extLst>
      <p:ext uri="{BB962C8B-B14F-4D97-AF65-F5344CB8AC3E}">
        <p14:creationId xmlns:p14="http://schemas.microsoft.com/office/powerpoint/2010/main" val="323167088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2018 1:37 PM</a:t>
            </a:fld>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Tree>
    <p:extLst>
      <p:ext uri="{BB962C8B-B14F-4D97-AF65-F5344CB8AC3E}">
        <p14:creationId xmlns:p14="http://schemas.microsoft.com/office/powerpoint/2010/main" val="293657976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BD1AB-304A-4466-9410-8654A8815A84}"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276441791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7821682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F3FBD1AB-304A-4466-9410-8654A8815A84}" type="slidenum">
              <a:rPr lang="en-US" smtClean="0"/>
              <a:pPr/>
              <a:t>3</a:t>
            </a:fld>
            <a:endParaRPr lang="en-US" dirty="0"/>
          </a:p>
        </p:txBody>
      </p:sp>
    </p:spTree>
    <p:extLst>
      <p:ext uri="{BB962C8B-B14F-4D97-AF65-F5344CB8AC3E}">
        <p14:creationId xmlns:p14="http://schemas.microsoft.com/office/powerpoint/2010/main" val="28491139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922185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08163" y="233363"/>
            <a:ext cx="3243262" cy="1825625"/>
          </a:xfrm>
        </p:spPr>
      </p:sp>
      <p:sp>
        <p:nvSpPr>
          <p:cNvPr id="3" name="Notes Placeholder 2"/>
          <p:cNvSpPr>
            <a:spLocks noGrp="1"/>
          </p:cNvSpPr>
          <p:nvPr>
            <p:ph type="body" idx="1"/>
          </p:nvPr>
        </p:nvSpPr>
        <p:spPr/>
        <p:txBody>
          <a:bodyPr>
            <a:normAutofit/>
          </a:bodyPr>
          <a:lstStyle/>
          <a:p>
            <a:endParaRPr lang="en-US" sz="700" kern="1200" dirty="0">
              <a:solidFill>
                <a:schemeClr val="tx1"/>
              </a:solidFill>
              <a:effectLst/>
              <a:latin typeface="Segoe UI" panose="020B0502040204020203" pitchFamily="34" charset="0"/>
              <a:ea typeface="+mn-ea"/>
              <a:cs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884798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08163" y="233363"/>
            <a:ext cx="3243262" cy="1825625"/>
          </a:xfrm>
        </p:spPr>
      </p:sp>
      <p:sp>
        <p:nvSpPr>
          <p:cNvPr id="3" name="Notes Placeholder 2"/>
          <p:cNvSpPr>
            <a:spLocks noGrp="1"/>
          </p:cNvSpPr>
          <p:nvPr>
            <p:ph type="body" idx="1"/>
          </p:nvPr>
        </p:nvSpPr>
        <p:spPr/>
        <p:txBody>
          <a:bodyPr>
            <a:normAutofit/>
          </a:bodyPr>
          <a:lstStyle/>
          <a:p>
            <a:endParaRPr lang="en-US" sz="700" kern="1200" dirty="0">
              <a:solidFill>
                <a:schemeClr val="tx1"/>
              </a:solidFill>
              <a:effectLst/>
              <a:latin typeface="Segoe UI" panose="020B0502040204020203" pitchFamily="34" charset="0"/>
              <a:ea typeface="+mn-ea"/>
              <a:cs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461735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3FBD1AB-304A-4466-9410-8654A8815A84}" type="slidenum">
              <a:rPr lang="en-US" smtClean="0"/>
              <a:t>7</a:t>
            </a:fld>
            <a:endParaRPr lang="en-US" dirty="0"/>
          </a:p>
        </p:txBody>
      </p:sp>
    </p:spTree>
    <p:extLst>
      <p:ext uri="{BB962C8B-B14F-4D97-AF65-F5344CB8AC3E}">
        <p14:creationId xmlns:p14="http://schemas.microsoft.com/office/powerpoint/2010/main" val="39535568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46920" rtl="0" eaLnBrk="0" fontAlgn="base" latinLnBrk="0" hangingPunct="0">
              <a:lnSpc>
                <a:spcPct val="100000"/>
              </a:lnSpc>
              <a:spcBef>
                <a:spcPct val="30000"/>
              </a:spcBef>
              <a:spcAft>
                <a:spcPts val="345"/>
              </a:spcAft>
              <a:buClrTx/>
              <a:buSzTx/>
              <a:buFontTx/>
              <a:buNone/>
              <a:tabLst/>
              <a:defRPr/>
            </a:pPr>
            <a:endParaRPr lang="en-US" b="0" baseline="0"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Build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6/2018 1:3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7714042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1" dirty="0">
              <a:latin typeface="Segoe UI" panose="020B0502040204020203" pitchFamily="34" charset="0"/>
              <a:ea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3F12727-653D-4DBC-864D-D872D6FAD8B3}"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896250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192000" cy="731179"/>
          </a:xfrm>
        </p:spPr>
        <p:txBody>
          <a:bodyPr/>
          <a:lstStyle>
            <a:lvl1pPr marL="0" indent="0">
              <a:buNone/>
              <a:defRPr/>
            </a:lvl1pPr>
          </a:lstStyle>
          <a:p>
            <a:endParaRPr lang="en-US" dirty="0"/>
          </a:p>
        </p:txBody>
      </p:sp>
      <p:sp>
        <p:nvSpPr>
          <p:cNvPr id="5" name="Title 4"/>
          <p:cNvSpPr>
            <a:spLocks noGrp="1"/>
          </p:cNvSpPr>
          <p:nvPr>
            <p:ph type="title"/>
          </p:nvPr>
        </p:nvSpPr>
        <p:spPr>
          <a:xfrm>
            <a:off x="268927" y="301604"/>
            <a:ext cx="5378861" cy="899665"/>
          </a:xfrm>
        </p:spPr>
        <p:txBody>
          <a:bodyPr/>
          <a:lstStyle>
            <a:lvl1pPr>
              <a:defRPr sz="5900">
                <a:gradFill>
                  <a:gsLst>
                    <a:gs pos="8850">
                      <a:srgbClr val="FFFFFF"/>
                    </a:gs>
                    <a:gs pos="34000">
                      <a:srgbClr val="FFFFFF"/>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2000927191"/>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4"/>
            <a:ext cx="11653834" cy="1793071"/>
          </a:xfrm>
        </p:spPr>
        <p:txBody>
          <a:bodyPr/>
          <a:lstStyle>
            <a:lvl1pPr>
              <a:defRPr sz="57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40" y="2546470"/>
            <a:ext cx="7171399" cy="519583"/>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30562969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1922270"/>
          </a:xfrm>
          <a:prstGeom prst="rect">
            <a:avLst/>
          </a:prstGeom>
        </p:spPr>
        <p:txBody>
          <a:bodyPr/>
          <a:lstStyle>
            <a:lvl1pPr marL="0" indent="0">
              <a:buClr>
                <a:schemeClr val="tx1"/>
              </a:buClr>
              <a:buSzPct val="90000"/>
              <a:buFont typeface="Arial" pitchFamily="34" charset="0"/>
              <a:buNone/>
              <a:defRPr sz="2745" b="0" i="0">
                <a:gradFill>
                  <a:gsLst>
                    <a:gs pos="1250">
                      <a:schemeClr val="tx1"/>
                    </a:gs>
                    <a:gs pos="100000">
                      <a:schemeClr val="tx1"/>
                    </a:gs>
                  </a:gsLst>
                  <a:lin ang="5400000" scaled="0"/>
                </a:gradFill>
                <a:latin typeface="+mn-lt"/>
                <a:ea typeface="Segoe UI" pitchFamily="34" charset="0"/>
                <a:cs typeface="Segoe UI" pitchFamily="34" charset="0"/>
              </a:defRPr>
            </a:lvl1pPr>
            <a:lvl2pPr marL="284789" indent="0">
              <a:buClr>
                <a:schemeClr val="tx1"/>
              </a:buClr>
              <a:buSzPct val="90000"/>
              <a:buFont typeface="Arial" pitchFamily="34" charset="0"/>
              <a:buNone/>
              <a:defRPr sz="2353" b="0" i="0">
                <a:gradFill>
                  <a:gsLst>
                    <a:gs pos="1250">
                      <a:schemeClr val="tx1"/>
                    </a:gs>
                    <a:gs pos="100000">
                      <a:schemeClr val="tx1"/>
                    </a:gs>
                  </a:gsLst>
                  <a:lin ang="5400000" scaled="0"/>
                </a:gradFill>
                <a:latin typeface="+mn-lt"/>
                <a:ea typeface="Segoe UI" pitchFamily="34" charset="0"/>
                <a:cs typeface="Segoe UI" pitchFamily="34" charset="0"/>
              </a:defRPr>
            </a:lvl2pPr>
            <a:lvl3pPr marL="560241" indent="0">
              <a:buClr>
                <a:schemeClr val="tx1"/>
              </a:buClr>
              <a:buSzPct val="90000"/>
              <a:buFont typeface="Arial" pitchFamily="34" charset="0"/>
              <a:buNone/>
              <a:defRPr sz="1961" b="0" i="0">
                <a:gradFill>
                  <a:gsLst>
                    <a:gs pos="1250">
                      <a:schemeClr val="tx1"/>
                    </a:gs>
                    <a:gs pos="100000">
                      <a:schemeClr val="tx1"/>
                    </a:gs>
                  </a:gsLst>
                  <a:lin ang="5400000" scaled="0"/>
                </a:gradFill>
                <a:latin typeface="+mn-lt"/>
                <a:ea typeface="Segoe UI" pitchFamily="34" charset="0"/>
                <a:cs typeface="Segoe UI" pitchFamily="34" charset="0"/>
              </a:defRPr>
            </a:lvl3pPr>
            <a:lvl4pPr marL="845031" indent="0">
              <a:buClr>
                <a:schemeClr val="tx1"/>
              </a:buClr>
              <a:buSzPct val="90000"/>
              <a:buFont typeface="Arial" pitchFamily="34" charset="0"/>
              <a:buNone/>
              <a:defRPr sz="1765" b="0" i="0">
                <a:gradFill>
                  <a:gsLst>
                    <a:gs pos="1250">
                      <a:schemeClr val="tx1"/>
                    </a:gs>
                    <a:gs pos="100000">
                      <a:schemeClr val="tx1"/>
                    </a:gs>
                  </a:gsLst>
                  <a:lin ang="5400000" scaled="0"/>
                </a:gradFill>
                <a:latin typeface="+mn-lt"/>
                <a:ea typeface="Segoe UI" pitchFamily="34" charset="0"/>
                <a:cs typeface="Segoe UI" pitchFamily="34" charset="0"/>
              </a:defRPr>
            </a:lvl4pPr>
            <a:lvl5pPr marL="1069128" indent="0">
              <a:buClr>
                <a:schemeClr val="tx1"/>
              </a:buClr>
              <a:buSzPct val="90000"/>
              <a:buFont typeface="Arial" pitchFamily="34" charset="0"/>
              <a:buNone/>
              <a:defRPr sz="1568" b="0" i="0">
                <a:gradFill>
                  <a:gsLst>
                    <a:gs pos="1250">
                      <a:schemeClr val="tx1"/>
                    </a:gs>
                    <a:gs pos="100000">
                      <a:schemeClr val="tx1"/>
                    </a:gs>
                  </a:gsLst>
                  <a:lin ang="5400000" scaled="0"/>
                </a:gradFill>
                <a:latin typeface="+mn-lt"/>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b="0" i="0">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7022223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Section Title w/black overlay">
    <p:bg>
      <p:bgPr>
        <a:solidFill>
          <a:schemeClr val="tx2"/>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0" y="-4824"/>
            <a:ext cx="12192000" cy="510524"/>
          </a:xfrm>
        </p:spPr>
        <p:txBody>
          <a:bodyPr/>
          <a:lstStyle>
            <a:lvl1pPr>
              <a:defRPr baseline="0">
                <a:solidFill>
                  <a:schemeClr val="bg1"/>
                </a:solidFill>
              </a:defRPr>
            </a:lvl1pPr>
          </a:lstStyle>
          <a:p>
            <a:r>
              <a:rPr lang="en-US" dirty="0"/>
              <a:t>Click on icon to insert picture, then send to back</a:t>
            </a:r>
          </a:p>
        </p:txBody>
      </p:sp>
      <p:sp>
        <p:nvSpPr>
          <p:cNvPr id="4" name="Title 1"/>
          <p:cNvSpPr>
            <a:spLocks noGrp="1"/>
          </p:cNvSpPr>
          <p:nvPr>
            <p:ph type="title" hasCustomPrompt="1"/>
          </p:nvPr>
        </p:nvSpPr>
        <p:spPr>
          <a:xfrm>
            <a:off x="228600" y="2095501"/>
            <a:ext cx="8991601" cy="2492266"/>
          </a:xfrm>
          <a:prstGeom prst="rect">
            <a:avLst/>
          </a:prstGeom>
          <a:noFill/>
          <a:ln>
            <a:noFill/>
          </a:ln>
        </p:spPr>
        <p:txBody>
          <a:bodyPr lIns="137160" tIns="91440" rIns="137160" bIns="0" anchor="b" anchorCtr="0">
            <a:noAutofit/>
          </a:bodyPr>
          <a:lstStyle>
            <a:lvl1pPr>
              <a:defRPr sz="4800" b="0" i="0" spc="-100" baseline="0">
                <a:solidFill>
                  <a:schemeClr val="bg1"/>
                </a:solidFill>
                <a:latin typeface="+mj-lt"/>
                <a:cs typeface="Segoe UI Semilight" panose="020B0402040204020203" pitchFamily="34" charset="0"/>
              </a:defRPr>
            </a:lvl1pPr>
          </a:lstStyle>
          <a:p>
            <a:r>
              <a:rPr lang="en-US" dirty="0"/>
              <a:t>Section title</a:t>
            </a:r>
          </a:p>
        </p:txBody>
      </p:sp>
    </p:spTree>
    <p:extLst>
      <p:ext uri="{BB962C8B-B14F-4D97-AF65-F5344CB8AC3E}">
        <p14:creationId xmlns:p14="http://schemas.microsoft.com/office/powerpoint/2010/main" val="934504533"/>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cSld name="Intro Section">
    <p:bg>
      <p:bgPr>
        <a:solidFill>
          <a:schemeClr val="bg2"/>
        </a:solidFill>
        <a:effectLst/>
      </p:bgPr>
    </p:bg>
    <p:spTree>
      <p:nvGrpSpPr>
        <p:cNvPr id="1" name=""/>
        <p:cNvGrpSpPr/>
        <p:nvPr/>
      </p:nvGrpSpPr>
      <p:grpSpPr>
        <a:xfrm>
          <a:off x="0" y="0"/>
          <a:ext cx="0" cy="0"/>
          <a:chOff x="0" y="0"/>
          <a:chExt cx="0" cy="0"/>
        </a:xfrm>
      </p:grpSpPr>
      <p:sp>
        <p:nvSpPr>
          <p:cNvPr id="3" name="Rectangle 2"/>
          <p:cNvSpPr/>
          <p:nvPr/>
        </p:nvSpPr>
        <p:spPr>
          <a:xfrm>
            <a:off x="-16832" y="-1"/>
            <a:ext cx="12210420" cy="810491"/>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3779"/>
            <a:endParaRPr lang="en-US" sz="2199" dirty="0">
              <a:solidFill>
                <a:srgbClr val="E4DED8"/>
              </a:solidFill>
            </a:endParaRPr>
          </a:p>
        </p:txBody>
      </p:sp>
      <p:sp>
        <p:nvSpPr>
          <p:cNvPr id="4" name="Text Placeholder 4"/>
          <p:cNvSpPr txBox="1">
            <a:spLocks/>
          </p:cNvSpPr>
          <p:nvPr/>
        </p:nvSpPr>
        <p:spPr>
          <a:xfrm>
            <a:off x="2" y="846141"/>
            <a:ext cx="12192000" cy="373063"/>
          </a:xfrm>
          <a:prstGeom prst="rect">
            <a:avLst/>
          </a:prstGeom>
        </p:spPr>
        <p:txBody>
          <a:bodyPr vert="horz" lIns="319912" tIns="53303" rIns="53303" bIns="53303" rtlCol="0">
            <a:noAutofit/>
          </a:bodyPr>
          <a:lstStyle>
            <a:lvl1pPr marL="0" indent="0" algn="l" defTabSz="1088105" rtl="0" eaLnBrk="1" latinLnBrk="0" hangingPunct="1">
              <a:spcBef>
                <a:spcPts val="1800"/>
              </a:spcBef>
              <a:buClr>
                <a:srgbClr val="0072C6"/>
              </a:buClr>
              <a:buSzPct val="100000"/>
              <a:buFont typeface="Wingdings" pitchFamily="2" charset="2"/>
              <a:buNone/>
              <a:defRPr sz="2800" kern="1200">
                <a:solidFill>
                  <a:schemeClr val="tx1"/>
                </a:solidFill>
                <a:latin typeface="Segoe UI Light" pitchFamily="34" charset="0"/>
                <a:ea typeface="Segoe UI" pitchFamily="34" charset="0"/>
                <a:cs typeface="Segoe UI" pitchFamily="34" charset="0"/>
              </a:defRPr>
            </a:lvl1pPr>
            <a:lvl2pPr marL="281674" indent="0" algn="l" defTabSz="1088105" rtl="0" eaLnBrk="1" latinLnBrk="0" hangingPunct="1">
              <a:spcBef>
                <a:spcPct val="20000"/>
              </a:spcBef>
              <a:buFont typeface="Arial" pitchFamily="34" charset="0"/>
              <a:buNone/>
              <a:defRPr sz="1800" kern="1200">
                <a:solidFill>
                  <a:schemeClr val="tx1"/>
                </a:solidFill>
                <a:latin typeface="Segoe UI" pitchFamily="34" charset="0"/>
                <a:ea typeface="Segoe UI" pitchFamily="34" charset="0"/>
                <a:cs typeface="Segoe UI" pitchFamily="34" charset="0"/>
              </a:defRPr>
            </a:lvl2pPr>
            <a:lvl3pPr marL="588476" indent="0" algn="l" defTabSz="1088105" rtl="0" eaLnBrk="1" latinLnBrk="0" hangingPunct="1">
              <a:spcBef>
                <a:spcPct val="20000"/>
              </a:spcBef>
              <a:buFont typeface="Arial" pitchFamily="34" charset="0"/>
              <a:buNone/>
              <a:defRPr sz="1600" kern="1200">
                <a:solidFill>
                  <a:schemeClr val="tx1"/>
                </a:solidFill>
                <a:latin typeface="Segoe UI" pitchFamily="34" charset="0"/>
                <a:ea typeface="Segoe UI" pitchFamily="34" charset="0"/>
                <a:cs typeface="Segoe UI" pitchFamily="34" charset="0"/>
              </a:defRPr>
            </a:lvl3pPr>
            <a:lvl4pPr marL="870150" indent="0" algn="l" defTabSz="1088105" rtl="0" eaLnBrk="1" latinLnBrk="0" hangingPunct="1">
              <a:spcBef>
                <a:spcPct val="20000"/>
              </a:spcBef>
              <a:buFont typeface="Arial" pitchFamily="34" charset="0"/>
              <a:buNone/>
              <a:defRPr sz="1400" kern="1200">
                <a:solidFill>
                  <a:schemeClr val="tx1"/>
                </a:solidFill>
                <a:latin typeface="Segoe UI" pitchFamily="34" charset="0"/>
                <a:ea typeface="Segoe UI" pitchFamily="34" charset="0"/>
                <a:cs typeface="Segoe UI" pitchFamily="34" charset="0"/>
              </a:defRPr>
            </a:lvl4pPr>
            <a:lvl5pPr marL="1105540" indent="0" algn="l" defTabSz="1088105" rtl="0" eaLnBrk="1" latinLnBrk="0" hangingPunct="1">
              <a:spcBef>
                <a:spcPct val="20000"/>
              </a:spcBef>
              <a:buFont typeface="Arial" pitchFamily="34" charset="0"/>
              <a:buNone/>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endParaRPr lang="en-US" sz="2399" dirty="0">
              <a:solidFill>
                <a:srgbClr val="FBFBFB"/>
              </a:solidFill>
              <a:cs typeface="Segoe UI Light" panose="020B0502040204020203" pitchFamily="34" charset="0"/>
            </a:endParaRPr>
          </a:p>
        </p:txBody>
      </p:sp>
      <p:sp>
        <p:nvSpPr>
          <p:cNvPr id="5" name="Rectangle 4"/>
          <p:cNvSpPr/>
          <p:nvPr/>
        </p:nvSpPr>
        <p:spPr bwMode="auto">
          <a:xfrm>
            <a:off x="227072" y="1600204"/>
            <a:ext cx="4804387" cy="1889653"/>
          </a:xfrm>
          <a:prstGeom prst="rect">
            <a:avLst/>
          </a:prstGeom>
          <a:no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399" tIns="45700" rIns="91399" bIns="45700" numCol="1" rtlCol="0" anchor="t" anchorCtr="0" compatLnSpc="1">
            <a:prstTxWarp prst="textNoShape">
              <a:avLst/>
            </a:prstTxWarp>
          </a:bodyPr>
          <a:lstStyle/>
          <a:p>
            <a:pPr defTabSz="913649" fontAlgn="base">
              <a:spcBef>
                <a:spcPct val="0"/>
              </a:spcBef>
              <a:spcAft>
                <a:spcPct val="0"/>
              </a:spcAft>
            </a:pPr>
            <a:endParaRPr lang="en-US" sz="1999" dirty="0">
              <a:solidFill>
                <a:srgbClr val="FBFBFB"/>
              </a:solidFill>
              <a:ea typeface="Segoe UI" panose="020B0502040204020203" pitchFamily="34" charset="0"/>
              <a:cs typeface="Segoe UI" panose="020B0502040204020203" pitchFamily="34" charset="0"/>
            </a:endParaRPr>
          </a:p>
        </p:txBody>
      </p:sp>
      <p:sp>
        <p:nvSpPr>
          <p:cNvPr id="6" name="Title 1"/>
          <p:cNvSpPr txBox="1">
            <a:spLocks/>
          </p:cNvSpPr>
          <p:nvPr/>
        </p:nvSpPr>
        <p:spPr>
          <a:xfrm>
            <a:off x="280627" y="-5201"/>
            <a:ext cx="8025748" cy="823071"/>
          </a:xfrm>
          <a:prstGeom prst="rect">
            <a:avLst/>
          </a:prstGeom>
          <a:effectLst/>
        </p:spPr>
        <p:txBody>
          <a:bodyPr lIns="91387" tIns="45692" rIns="91387" bIns="45692" anchor="ctr"/>
          <a:lstStyle>
            <a:lvl1pPr algn="ctr" defTabSz="914400" rtl="0" eaLnBrk="1" latinLnBrk="0" hangingPunct="1">
              <a:lnSpc>
                <a:spcPts val="3800"/>
              </a:lnSpc>
              <a:spcBef>
                <a:spcPct val="0"/>
              </a:spcBef>
              <a:buNone/>
              <a:defRPr sz="2800" b="1" i="1" kern="1200" spc="300" baseline="0">
                <a:solidFill>
                  <a:schemeClr val="accent3"/>
                </a:solidFill>
                <a:latin typeface="+mn-lt"/>
                <a:ea typeface="+mj-ea"/>
                <a:cs typeface="+mj-cs"/>
              </a:defRPr>
            </a:lvl1pPr>
          </a:lstStyle>
          <a:p>
            <a:pPr algn="l">
              <a:lnSpc>
                <a:spcPts val="3499"/>
              </a:lnSpc>
            </a:pPr>
            <a:endParaRPr lang="en-US" sz="2399" i="0" kern="900" dirty="0">
              <a:gradFill>
                <a:gsLst>
                  <a:gs pos="100000">
                    <a:srgbClr val="FBFBFB"/>
                  </a:gs>
                  <a:gs pos="0">
                    <a:srgbClr val="FBFBFB"/>
                  </a:gs>
                </a:gsLst>
                <a:lin ang="5400000" scaled="0"/>
              </a:gradFill>
            </a:endParaRPr>
          </a:p>
        </p:txBody>
      </p:sp>
    </p:spTree>
    <p:extLst>
      <p:ext uri="{BB962C8B-B14F-4D97-AF65-F5344CB8AC3E}">
        <p14:creationId xmlns:p14="http://schemas.microsoft.com/office/powerpoint/2010/main" val="3178479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884487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1_Title Slide">
    <p:bg>
      <p:bgPr>
        <a:solidFill>
          <a:schemeClr val="bg1"/>
        </a:solidFill>
        <a:effectLst/>
      </p:bgPr>
    </p:bg>
    <p:spTree>
      <p:nvGrpSpPr>
        <p:cNvPr id="1" name=""/>
        <p:cNvGrpSpPr/>
        <p:nvPr/>
      </p:nvGrpSpPr>
      <p:grpSpPr>
        <a:xfrm>
          <a:off x="0" y="0"/>
          <a:ext cx="0" cy="0"/>
          <a:chOff x="0" y="0"/>
          <a:chExt cx="0" cy="0"/>
        </a:xfrm>
      </p:grpSpPr>
      <p:sp>
        <p:nvSpPr>
          <p:cNvPr id="14" name="Title 11"/>
          <p:cNvSpPr>
            <a:spLocks noGrp="1"/>
          </p:cNvSpPr>
          <p:nvPr>
            <p:ph type="title" hasCustomPrompt="1"/>
          </p:nvPr>
        </p:nvSpPr>
        <p:spPr>
          <a:xfrm>
            <a:off x="275163" y="298449"/>
            <a:ext cx="10515600" cy="692586"/>
          </a:xfrm>
          <a:prstGeom prst="rect">
            <a:avLst/>
          </a:prstGeom>
        </p:spPr>
        <p:txBody>
          <a:bodyPr lIns="146304" tIns="91440" rIns="146304" bIns="91440"/>
          <a:lstStyle>
            <a:lvl1pPr>
              <a:defRPr spc="-100" baseline="0">
                <a:solidFill>
                  <a:srgbClr val="42424E"/>
                </a:solidFill>
                <a:latin typeface="Segoe UI Light" panose="020B0502040204020203" pitchFamily="34" charset="0"/>
                <a:cs typeface="Segoe UI Light" panose="020B0502040204020203" pitchFamily="34" charset="0"/>
              </a:defRPr>
            </a:lvl1pPr>
          </a:lstStyle>
          <a:p>
            <a:r>
              <a:rPr lang="en-US" dirty="0"/>
              <a:t>Click here to edit title</a:t>
            </a:r>
          </a:p>
        </p:txBody>
      </p:sp>
    </p:spTree>
    <p:extLst>
      <p:ext uri="{BB962C8B-B14F-4D97-AF65-F5344CB8AC3E}">
        <p14:creationId xmlns:p14="http://schemas.microsoft.com/office/powerpoint/2010/main" val="350233909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4"/>
            <a:ext cx="11653834" cy="1793071"/>
          </a:xfrm>
        </p:spPr>
        <p:txBody>
          <a:bodyPr/>
          <a:lstStyle>
            <a:lvl1pPr>
              <a:defRPr sz="57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40" y="2546470"/>
            <a:ext cx="7171399" cy="519583"/>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9115978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Windows + Thru-partner">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0922" y="2096494"/>
            <a:ext cx="5000178" cy="914109"/>
          </a:xfrm>
          <a:noFill/>
        </p:spPr>
        <p:txBody>
          <a:bodyPr lIns="146304" tIns="91440" rIns="146304" bIns="91440" anchor="t" anchorCtr="0"/>
          <a:lstStyle>
            <a:lvl1pPr>
              <a:defRPr sz="5291"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9302" y="3877276"/>
            <a:ext cx="5001798" cy="1793104"/>
          </a:xfrm>
        </p:spPr>
        <p:txBody>
          <a:bodyPr tIns="109728" bIns="109728">
            <a:noAutofit/>
          </a:bodyPr>
          <a:lstStyle>
            <a:lvl1pPr marL="0" indent="0">
              <a:spcBef>
                <a:spcPts val="0"/>
              </a:spcBef>
              <a:buNone/>
              <a:defRPr sz="3134">
                <a:gradFill>
                  <a:gsLst>
                    <a:gs pos="57576">
                      <a:srgbClr val="FFFFFF"/>
                    </a:gs>
                    <a:gs pos="35000">
                      <a:srgbClr val="FFFFFF"/>
                    </a:gs>
                  </a:gsLst>
                  <a:lin ang="5400000" scaled="0"/>
                </a:gradFill>
              </a:defRPr>
            </a:lvl1pPr>
          </a:lstStyle>
          <a:p>
            <a:pPr lvl="0"/>
            <a:r>
              <a:rPr lang="en-US" dirty="0"/>
              <a:t>Click to add text</a:t>
            </a:r>
          </a:p>
        </p:txBody>
      </p:sp>
      <p:pic>
        <p:nvPicPr>
          <p:cNvPr id="7" name="Picture 6" hidden="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448587" y="6122092"/>
            <a:ext cx="1254995" cy="26770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70924" y="5863869"/>
            <a:ext cx="1942157" cy="714410"/>
          </a:xfrm>
          <a:prstGeom prst="rect">
            <a:avLst/>
          </a:prstGeom>
        </p:spPr>
      </p:pic>
    </p:spTree>
    <p:extLst>
      <p:ext uri="{BB962C8B-B14F-4D97-AF65-F5344CB8AC3E}">
        <p14:creationId xmlns:p14="http://schemas.microsoft.com/office/powerpoint/2010/main" val="2170489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slide Microsoft">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333122" y="2096494"/>
            <a:ext cx="5000178" cy="914109"/>
          </a:xfrm>
          <a:noFill/>
        </p:spPr>
        <p:txBody>
          <a:bodyPr lIns="146304" tIns="91440" rIns="146304" bIns="91440" anchor="t" anchorCtr="0"/>
          <a:lstStyle>
            <a:lvl1pPr>
              <a:defRPr sz="5291"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331502" y="3877276"/>
            <a:ext cx="5001798" cy="1086610"/>
          </a:xfrm>
        </p:spPr>
        <p:txBody>
          <a:bodyPr tIns="109728" bIns="109728">
            <a:noAutofit/>
          </a:bodyPr>
          <a:lstStyle>
            <a:lvl1pPr marL="0" indent="0">
              <a:spcBef>
                <a:spcPts val="0"/>
              </a:spcBef>
              <a:buNone/>
              <a:defRPr sz="2400" b="1">
                <a:gradFill>
                  <a:gsLst>
                    <a:gs pos="57576">
                      <a:srgbClr val="FFFFFF"/>
                    </a:gs>
                    <a:gs pos="35000">
                      <a:srgbClr val="FFFFFF"/>
                    </a:gs>
                  </a:gsLst>
                  <a:lin ang="5400000" scaled="0"/>
                </a:gradFill>
                <a:latin typeface="+mn-lt"/>
              </a:defRPr>
            </a:lvl1pPr>
          </a:lstStyle>
          <a:p>
            <a:pPr lvl="0"/>
            <a:r>
              <a:rPr lang="en-US" dirty="0"/>
              <a:t>Click to add text</a:t>
            </a:r>
          </a:p>
        </p:txBody>
      </p:sp>
      <p:pic>
        <p:nvPicPr>
          <p:cNvPr id="7" name="Picture 6" hidden="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448587" y="6122092"/>
            <a:ext cx="1254995" cy="267709"/>
          </a:xfrm>
          <a:prstGeom prst="rect">
            <a:avLst/>
          </a:prstGeom>
        </p:spPr>
      </p:pic>
      <p:sp>
        <p:nvSpPr>
          <p:cNvPr id="11" name="Text Placeholder 2"/>
          <p:cNvSpPr>
            <a:spLocks noGrp="1"/>
          </p:cNvSpPr>
          <p:nvPr>
            <p:ph type="body" sz="quarter" idx="15" hasCustomPrompt="1"/>
          </p:nvPr>
        </p:nvSpPr>
        <p:spPr bwMode="auto">
          <a:xfrm>
            <a:off x="331502" y="4963886"/>
            <a:ext cx="5001798" cy="1086610"/>
          </a:xfrm>
        </p:spPr>
        <p:txBody>
          <a:bodyPr tIns="109728" bIns="109728">
            <a:noAutofit/>
          </a:bodyPr>
          <a:lstStyle>
            <a:lvl1pPr marL="0" indent="0">
              <a:spcBef>
                <a:spcPts val="0"/>
              </a:spcBef>
              <a:buNone/>
              <a:defRPr sz="2000">
                <a:gradFill>
                  <a:gsLst>
                    <a:gs pos="57576">
                      <a:srgbClr val="FFFFFF"/>
                    </a:gs>
                    <a:gs pos="35000">
                      <a:srgbClr val="FFFFFF"/>
                    </a:gs>
                  </a:gsLst>
                  <a:lin ang="5400000" scaled="0"/>
                </a:gradFill>
                <a:latin typeface="+mn-lt"/>
              </a:defRPr>
            </a:lvl1pPr>
          </a:lstStyle>
          <a:p>
            <a:pPr lvl="0"/>
            <a:r>
              <a:rPr lang="en-US" dirty="0"/>
              <a:t>Click to add text</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70924" y="5863869"/>
            <a:ext cx="1942157" cy="714410"/>
          </a:xfrm>
          <a:prstGeom prst="rect">
            <a:avLst/>
          </a:prstGeom>
        </p:spPr>
      </p:pic>
    </p:spTree>
    <p:extLst>
      <p:ext uri="{BB962C8B-B14F-4D97-AF65-F5344CB8AC3E}">
        <p14:creationId xmlns:p14="http://schemas.microsoft.com/office/powerpoint/2010/main" val="3287984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93356828"/>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2_Product overview">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7589840" y="1211265"/>
            <a:ext cx="4389437" cy="5303837"/>
          </a:xfrm>
        </p:spPr>
        <p:txBody>
          <a:bodyPr/>
          <a:lstStyle>
            <a:lvl1pPr>
              <a:lnSpc>
                <a:spcPct val="100000"/>
              </a:lnSpc>
              <a:defRPr sz="2400"/>
            </a:lvl1pPr>
            <a:lvl2pPr>
              <a:lnSpc>
                <a:spcPct val="100000"/>
              </a:lnSpc>
              <a:defRPr sz="2400"/>
            </a:lvl2pPr>
            <a:lvl3pPr marL="228512" indent="-228512">
              <a:lnSpc>
                <a:spcPct val="100000"/>
              </a:lnSpc>
              <a:defRPr sz="2400"/>
            </a:lvl3pPr>
            <a:lvl4pPr>
              <a:lnSpc>
                <a:spcPct val="100000"/>
              </a:lnSpc>
              <a:defRPr sz="2400"/>
            </a:lvl4pPr>
            <a:lvl5pPr>
              <a:lnSpc>
                <a:spcPct val="100000"/>
              </a:lnSpc>
              <a:defRPr sz="2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81446865"/>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7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9"/>
            <a:ext cx="10757098" cy="1886111"/>
          </a:xfrm>
        </p:spPr>
        <p:txBody>
          <a:bodyPr/>
          <a:lstStyle>
            <a:lvl1pPr>
              <a:defRPr sz="25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581750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Product overview">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7589840" y="1211265"/>
            <a:ext cx="4389437" cy="5303837"/>
          </a:xfrm>
        </p:spPr>
        <p:txBody>
          <a:bodyPr/>
          <a:lstStyle>
            <a:lvl1pPr>
              <a:lnSpc>
                <a:spcPct val="100000"/>
              </a:lnSpc>
              <a:defRPr sz="2400"/>
            </a:lvl1pPr>
            <a:lvl2pPr>
              <a:lnSpc>
                <a:spcPct val="100000"/>
              </a:lnSpc>
              <a:defRPr sz="2000"/>
            </a:lvl2pPr>
            <a:lvl3pPr marL="228512" indent="-228512">
              <a:lnSpc>
                <a:spcPct val="100000"/>
              </a:lnSpc>
              <a:defRPr sz="2000"/>
            </a:lvl3pPr>
            <a:lvl4pPr>
              <a:lnSpc>
                <a:spcPct val="100000"/>
              </a:lnSpc>
              <a:defRPr sz="2000"/>
            </a:lvl4pPr>
            <a:lvl5pPr>
              <a:lnSpc>
                <a:spcPct val="100000"/>
              </a:lnSpc>
              <a:defRPr sz="20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3222330"/>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Product overview">
    <p:spTree>
      <p:nvGrpSpPr>
        <p:cNvPr id="1" name=""/>
        <p:cNvGrpSpPr/>
        <p:nvPr/>
      </p:nvGrpSpPr>
      <p:grpSpPr>
        <a:xfrm>
          <a:off x="0" y="0"/>
          <a:ext cx="0" cy="0"/>
          <a:chOff x="0" y="0"/>
          <a:chExt cx="0" cy="0"/>
        </a:xfrm>
      </p:grpSpPr>
      <p:sp>
        <p:nvSpPr>
          <p:cNvPr id="2" name="Title 1"/>
          <p:cNvSpPr>
            <a:spLocks noGrp="1"/>
          </p:cNvSpPr>
          <p:nvPr>
            <p:ph type="title"/>
          </p:nvPr>
        </p:nvSpPr>
        <p:spPr>
          <a:xfrm>
            <a:off x="269241" y="289514"/>
            <a:ext cx="11655840" cy="627864"/>
          </a:xfrm>
        </p:spPr>
        <p:txBody>
          <a:bodyPr/>
          <a:lstStyle/>
          <a:p>
            <a:r>
              <a:rPr lang="en-US"/>
              <a:t>Click to edit Master title style</a:t>
            </a:r>
          </a:p>
        </p:txBody>
      </p:sp>
      <p:sp>
        <p:nvSpPr>
          <p:cNvPr id="4" name="Text Placeholder 3"/>
          <p:cNvSpPr>
            <a:spLocks noGrp="1"/>
          </p:cNvSpPr>
          <p:nvPr>
            <p:ph type="body" sz="quarter" idx="10"/>
          </p:nvPr>
        </p:nvSpPr>
        <p:spPr>
          <a:xfrm>
            <a:off x="269243" y="1211265"/>
            <a:ext cx="4577397" cy="5303837"/>
          </a:xfrm>
        </p:spPr>
        <p:txBody>
          <a:bodyPr/>
          <a:lstStyle>
            <a:lvl1pPr>
              <a:lnSpc>
                <a:spcPct val="100000"/>
              </a:lnSpc>
              <a:defRPr sz="2400"/>
            </a:lvl1pPr>
            <a:lvl2pPr>
              <a:lnSpc>
                <a:spcPct val="100000"/>
              </a:lnSpc>
              <a:defRPr sz="2400"/>
            </a:lvl2pPr>
            <a:lvl3pPr marL="228512" indent="-228512">
              <a:lnSpc>
                <a:spcPct val="100000"/>
              </a:lnSpc>
              <a:defRPr sz="2400"/>
            </a:lvl3pPr>
            <a:lvl4pPr>
              <a:lnSpc>
                <a:spcPct val="100000"/>
              </a:lnSpc>
              <a:defRPr sz="2400"/>
            </a:lvl4pPr>
            <a:lvl5pPr>
              <a:lnSpc>
                <a:spcPct val="100000"/>
              </a:lnSpc>
              <a:defRPr sz="2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18620568"/>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lue Title Only">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1" y="289515"/>
            <a:ext cx="11655840" cy="627864"/>
          </a:xfrm>
        </p:spPr>
        <p:txBody>
          <a:bodyPr/>
          <a:lstStyle>
            <a:lvl1pPr>
              <a:defRPr>
                <a:gradFill>
                  <a:gsLst>
                    <a:gs pos="1250">
                      <a:schemeClr val="bg1"/>
                    </a:gs>
                    <a:gs pos="100000">
                      <a:schemeClr val="bg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427530604"/>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0922" y="2096492"/>
            <a:ext cx="11515694" cy="1098762"/>
          </a:xfrm>
          <a:noFill/>
        </p:spPr>
        <p:txBody>
          <a:bodyPr lIns="146304" tIns="91440" rIns="146304" bIns="91440" anchor="t" anchorCtr="0"/>
          <a:lstStyle>
            <a:lvl1pPr>
              <a:defRPr sz="6596"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0922" y="439132"/>
            <a:ext cx="5001798" cy="1793104"/>
          </a:xfrm>
        </p:spPr>
        <p:txBody>
          <a:bodyPr tIns="109728" bIns="109728">
            <a:noAutofit/>
          </a:bodyPr>
          <a:lstStyle>
            <a:lvl1pPr marL="0" indent="0">
              <a:spcBef>
                <a:spcPts val="0"/>
              </a:spcBef>
              <a:buNone/>
              <a:defRPr sz="3134">
                <a:gradFill>
                  <a:gsLst>
                    <a:gs pos="57576">
                      <a:srgbClr val="FFFFFF"/>
                    </a:gs>
                    <a:gs pos="35000">
                      <a:srgbClr val="FFFFFF"/>
                    </a:gs>
                  </a:gsLst>
                  <a:lin ang="5400000" scaled="0"/>
                </a:gradFill>
              </a:defRPr>
            </a:lvl1pPr>
          </a:lstStyle>
          <a:p>
            <a:pPr lvl="0"/>
            <a:r>
              <a:rPr lang="en-US" dirty="0"/>
              <a:t>Click to add text</a:t>
            </a:r>
          </a:p>
        </p:txBody>
      </p:sp>
      <p:pic>
        <p:nvPicPr>
          <p:cNvPr id="7" name="Picture 6" hidden="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448587" y="6122092"/>
            <a:ext cx="1254995" cy="267709"/>
          </a:xfrm>
          <a:prstGeom prst="rect">
            <a:avLst/>
          </a:prstGeom>
        </p:spPr>
      </p:pic>
    </p:spTree>
    <p:extLst>
      <p:ext uri="{BB962C8B-B14F-4D97-AF65-F5344CB8AC3E}">
        <p14:creationId xmlns:p14="http://schemas.microsoft.com/office/powerpoint/2010/main" val="2395737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2_Title Windows + Thru-partner">
    <p:bg>
      <p:bgPr>
        <a:solidFill>
          <a:srgbClr val="5C2D9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0922" y="2096492"/>
            <a:ext cx="11515694" cy="1098762"/>
          </a:xfrm>
          <a:noFill/>
        </p:spPr>
        <p:txBody>
          <a:bodyPr lIns="146304" tIns="91440" rIns="146304" bIns="91440" anchor="t" anchorCtr="0"/>
          <a:lstStyle>
            <a:lvl1pPr>
              <a:defRPr sz="6596"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0922" y="439132"/>
            <a:ext cx="5001798" cy="1793104"/>
          </a:xfrm>
        </p:spPr>
        <p:txBody>
          <a:bodyPr tIns="109728" bIns="109728">
            <a:noAutofit/>
          </a:bodyPr>
          <a:lstStyle>
            <a:lvl1pPr marL="0" indent="0">
              <a:spcBef>
                <a:spcPts val="0"/>
              </a:spcBef>
              <a:buNone/>
              <a:defRPr sz="3134">
                <a:gradFill>
                  <a:gsLst>
                    <a:gs pos="57576">
                      <a:srgbClr val="FFFFFF"/>
                    </a:gs>
                    <a:gs pos="35000">
                      <a:srgbClr val="FFFFFF"/>
                    </a:gs>
                  </a:gsLst>
                  <a:lin ang="5400000" scaled="0"/>
                </a:gradFill>
              </a:defRPr>
            </a:lvl1pPr>
          </a:lstStyle>
          <a:p>
            <a:pPr lvl="0"/>
            <a:r>
              <a:rPr lang="en-US" dirty="0"/>
              <a:t>Click to add text</a:t>
            </a:r>
          </a:p>
        </p:txBody>
      </p:sp>
      <p:pic>
        <p:nvPicPr>
          <p:cNvPr id="7" name="Picture 6" hidden="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448587" y="6122092"/>
            <a:ext cx="1254995" cy="267709"/>
          </a:xfrm>
          <a:prstGeom prst="rect">
            <a:avLst/>
          </a:prstGeom>
        </p:spPr>
      </p:pic>
    </p:spTree>
    <p:extLst>
      <p:ext uri="{BB962C8B-B14F-4D97-AF65-F5344CB8AC3E}">
        <p14:creationId xmlns:p14="http://schemas.microsoft.com/office/powerpoint/2010/main" val="1598409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2_Blank">
    <p:bg>
      <p:bgPr>
        <a:solidFill>
          <a:srgbClr val="0078D7"/>
        </a:soli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lIns="91440" rIns="182880"/>
          <a:lstStyle>
            <a:lvl1pPr>
              <a:defRPr sz="900">
                <a:solidFill>
                  <a:schemeClr val="tx1"/>
                </a:solidFill>
              </a:defRPr>
            </a:lvl1pPr>
          </a:lstStyle>
          <a:p>
            <a:fld id="{B34F68F0-1D97-479E-8476-1F6D336BF15A}" type="slidenum">
              <a:rPr lang="en-US" smtClean="0"/>
              <a:pPr/>
              <a:t>‹#›</a:t>
            </a:fld>
            <a:endParaRPr lang="en-US" dirty="0"/>
          </a:p>
        </p:txBody>
      </p:sp>
      <p:sp>
        <p:nvSpPr>
          <p:cNvPr id="3" name="Footer Placeholder 2"/>
          <p:cNvSpPr>
            <a:spLocks noGrp="1"/>
          </p:cNvSpPr>
          <p:nvPr>
            <p:ph type="ftr" sz="quarter" idx="11"/>
          </p:nvPr>
        </p:nvSpPr>
        <p:spPr>
          <a:xfrm>
            <a:off x="365760" y="6400802"/>
            <a:ext cx="3757398" cy="365125"/>
          </a:xfrm>
        </p:spPr>
        <p:txBody>
          <a:bodyPr lIns="0"/>
          <a:lstStyle>
            <a:lvl1pPr>
              <a:defRPr sz="900">
                <a:solidFill>
                  <a:schemeClr val="tx1"/>
                </a:solidFill>
              </a:defRPr>
            </a:lvl1pPr>
          </a:lstStyle>
          <a:p>
            <a:endParaRPr lang="en-US" dirty="0"/>
          </a:p>
        </p:txBody>
      </p:sp>
    </p:spTree>
    <p:extLst>
      <p:ext uri="{BB962C8B-B14F-4D97-AF65-F5344CB8AC3E}">
        <p14:creationId xmlns:p14="http://schemas.microsoft.com/office/powerpoint/2010/main" val="5680108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943717090"/>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80397B"/>
                </a:solidFill>
              </a:defRPr>
            </a:lvl1pPr>
          </a:lstStyle>
          <a:p>
            <a:r>
              <a:rPr lang="en-US" dirty="0"/>
              <a:t>Click to edit Master title style</a:t>
            </a:r>
          </a:p>
        </p:txBody>
      </p:sp>
    </p:spTree>
    <p:extLst>
      <p:ext uri="{BB962C8B-B14F-4D97-AF65-F5344CB8AC3E}">
        <p14:creationId xmlns:p14="http://schemas.microsoft.com/office/powerpoint/2010/main" val="1867682309"/>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Title Windows + Thru-partner">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0922" y="2096495"/>
            <a:ext cx="5001798" cy="914109"/>
          </a:xfrm>
          <a:noFill/>
        </p:spPr>
        <p:txBody>
          <a:bodyPr lIns="146304" tIns="91440" rIns="146304" bIns="91440" anchor="t" anchorCtr="0"/>
          <a:lstStyle>
            <a:lvl1pPr>
              <a:defRPr sz="5290"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9302" y="3877276"/>
            <a:ext cx="5001798" cy="1793104"/>
          </a:xfrm>
        </p:spPr>
        <p:txBody>
          <a:bodyPr tIns="109728" bIns="109728">
            <a:noAutofit/>
          </a:bodyPr>
          <a:lstStyle>
            <a:lvl1pPr marL="0" indent="0">
              <a:spcBef>
                <a:spcPts val="0"/>
              </a:spcBef>
              <a:buNone/>
              <a:defRPr sz="3133">
                <a:gradFill>
                  <a:gsLst>
                    <a:gs pos="57576">
                      <a:srgbClr val="FFFFFF"/>
                    </a:gs>
                    <a:gs pos="35000">
                      <a:srgbClr val="FFFFFF"/>
                    </a:gs>
                  </a:gsLst>
                  <a:lin ang="5400000" scaled="0"/>
                </a:gradFill>
              </a:defRPr>
            </a:lvl1pPr>
          </a:lstStyle>
          <a:p>
            <a:pPr lvl="0"/>
            <a:r>
              <a:rPr lang="en-US" dirty="0"/>
              <a:t>Speaker Name</a:t>
            </a:r>
          </a:p>
        </p:txBody>
      </p:sp>
      <p:pic>
        <p:nvPicPr>
          <p:cNvPr id="7" name="Picture 6" hidden="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448588" y="6122093"/>
            <a:ext cx="1254995" cy="267709"/>
          </a:xfrm>
          <a:prstGeom prst="rect">
            <a:avLst/>
          </a:prstGeom>
        </p:spPr>
      </p:pic>
      <p:pic>
        <p:nvPicPr>
          <p:cNvPr id="6" name="Picture 5"/>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448586" y="6073351"/>
            <a:ext cx="1434642" cy="314582"/>
          </a:xfrm>
          <a:prstGeom prst="rect">
            <a:avLst/>
          </a:prstGeom>
        </p:spPr>
      </p:pic>
    </p:spTree>
    <p:extLst>
      <p:ext uri="{BB962C8B-B14F-4D97-AF65-F5344CB8AC3E}">
        <p14:creationId xmlns:p14="http://schemas.microsoft.com/office/powerpoint/2010/main" val="3167367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Notes Slide">
    <p:bg>
      <p:bgPr>
        <a:solidFill>
          <a:schemeClr val="tx1">
            <a:lumMod val="50000"/>
          </a:schemeClr>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lvl1pPr>
              <a:defRPr spc="0">
                <a:solidFill>
                  <a:srgbClr val="D83B01"/>
                </a:solidFill>
                <a:latin typeface="Segoe UI Semilight" panose="020B0402040204020203" pitchFamily="34" charset="0"/>
                <a:cs typeface="Segoe UI Semilight" panose="020B0402040204020203" pitchFamily="34" charset="0"/>
              </a:defRPr>
            </a:lvl1pPr>
          </a:lstStyle>
          <a:p>
            <a:r>
              <a:rPr lang="en-US" dirty="0"/>
              <a:t>Click to edit Master title style</a:t>
            </a:r>
          </a:p>
        </p:txBody>
      </p:sp>
      <p:sp>
        <p:nvSpPr>
          <p:cNvPr id="9" name="Content Placeholder 8"/>
          <p:cNvSpPr>
            <a:spLocks noGrp="1"/>
          </p:cNvSpPr>
          <p:nvPr>
            <p:ph sz="quarter" idx="11"/>
          </p:nvPr>
        </p:nvSpPr>
        <p:spPr>
          <a:xfrm>
            <a:off x="269878" y="1189038"/>
            <a:ext cx="11655425" cy="5392737"/>
          </a:xfrm>
        </p:spPr>
        <p:txBody>
          <a:bodyPr numCol="2" spcCol="182880">
            <a:normAutofit/>
          </a:bodyPr>
          <a:lstStyle>
            <a:lvl1pPr>
              <a:lnSpc>
                <a:spcPct val="100000"/>
              </a:lnSpc>
              <a:defRPr sz="2400" spc="0">
                <a:solidFill>
                  <a:schemeClr val="bg1"/>
                </a:solidFill>
              </a:defRPr>
            </a:lvl1pPr>
            <a:lvl2pPr>
              <a:lnSpc>
                <a:spcPct val="100000"/>
              </a:lnSpc>
              <a:defRPr sz="2400" spc="0">
                <a:solidFill>
                  <a:schemeClr val="bg1"/>
                </a:solidFill>
              </a:defRPr>
            </a:lvl2pPr>
            <a:lvl3pPr marL="228512" indent="-228512">
              <a:lnSpc>
                <a:spcPct val="100000"/>
              </a:lnSpc>
              <a:buClr>
                <a:srgbClr val="D83B01"/>
              </a:buClr>
              <a:defRPr sz="2400" spc="0">
                <a:solidFill>
                  <a:schemeClr val="bg1"/>
                </a:solidFill>
              </a:defRPr>
            </a:lvl3pPr>
            <a:lvl4pPr marL="571281" indent="-341182">
              <a:lnSpc>
                <a:spcPct val="100000"/>
              </a:lnSpc>
              <a:buClr>
                <a:srgbClr val="D83B01"/>
              </a:buClr>
              <a:buFont typeface="+mj-lt"/>
              <a:buAutoNum type="arabicPeriod"/>
              <a:defRPr sz="2400" spc="0">
                <a:solidFill>
                  <a:schemeClr val="bg1"/>
                </a:solidFill>
              </a:defRPr>
            </a:lvl4pPr>
            <a:lvl5pPr marL="288815" indent="-288815">
              <a:lnSpc>
                <a:spcPct val="100000"/>
              </a:lnSpc>
              <a:buClr>
                <a:srgbClr val="D83B01"/>
              </a:buClr>
              <a:buFont typeface="+mj-lt"/>
              <a:buAutoNum type="alphaLcPeriod"/>
              <a:defRPr sz="2400" spc="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7497767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69239" y="1663916"/>
            <a:ext cx="8964248" cy="844031"/>
          </a:xfrm>
        </p:spPr>
        <p:txBody>
          <a:bodyPr/>
          <a:lstStyle>
            <a:lvl1pPr marL="0" indent="0">
              <a:buNone/>
              <a:defRPr sz="4700"/>
            </a:lvl1pPr>
            <a:lvl2pPr>
              <a:defRPr sz="3500"/>
            </a:lvl2pPr>
            <a:lvl3pPr>
              <a:defRPr sz="3500"/>
            </a:lvl3pPr>
            <a:lvl4pPr>
              <a:defRPr sz="3500"/>
            </a:lvl4pPr>
            <a:lvl5pPr>
              <a:defRPr sz="3500"/>
            </a:lvl5pPr>
          </a:lstStyle>
          <a:p>
            <a:pPr lvl="0"/>
            <a:r>
              <a:rPr lang="en-US" dirty="0"/>
              <a:t>Click to edit Master text styles</a:t>
            </a:r>
          </a:p>
        </p:txBody>
      </p:sp>
    </p:spTree>
    <p:extLst>
      <p:ext uri="{BB962C8B-B14F-4D97-AF65-F5344CB8AC3E}">
        <p14:creationId xmlns:p14="http://schemas.microsoft.com/office/powerpoint/2010/main" val="4261508697"/>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69239" y="1663916"/>
            <a:ext cx="8964248" cy="844031"/>
          </a:xfrm>
        </p:spPr>
        <p:txBody>
          <a:bodyPr/>
          <a:lstStyle>
            <a:lvl1pPr marL="0" indent="0">
              <a:buNone/>
              <a:defRPr sz="4700"/>
            </a:lvl1pPr>
            <a:lvl2pPr>
              <a:defRPr sz="3500"/>
            </a:lvl2pPr>
            <a:lvl3pPr>
              <a:defRPr sz="3500"/>
            </a:lvl3pPr>
            <a:lvl4pPr>
              <a:defRPr sz="3500"/>
            </a:lvl4pPr>
            <a:lvl5pPr>
              <a:defRPr sz="3500"/>
            </a:lvl5pPr>
          </a:lstStyle>
          <a:p>
            <a:pPr lvl="0"/>
            <a:r>
              <a:rPr lang="en-US" dirty="0"/>
              <a:t>Click to edit Master text styles</a:t>
            </a:r>
          </a:p>
        </p:txBody>
      </p:sp>
    </p:spTree>
    <p:extLst>
      <p:ext uri="{BB962C8B-B14F-4D97-AF65-F5344CB8AC3E}">
        <p14:creationId xmlns:p14="http://schemas.microsoft.com/office/powerpoint/2010/main" val="29229578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68927" y="291103"/>
            <a:ext cx="8964560" cy="5379279"/>
          </a:xfrm>
        </p:spPr>
        <p:txBody>
          <a:bodyPr/>
          <a:lstStyle>
            <a:lvl1pPr>
              <a:defRPr sz="47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600030248"/>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17999120"/>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89631" bIns="89631" anchor="t" anchorCtr="0"/>
          <a:lstStyle>
            <a:lvl1pPr>
              <a:defRPr sz="7100"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2"/>
            <a:ext cx="9860674" cy="1793881"/>
          </a:xfrm>
          <a:noFill/>
        </p:spPr>
        <p:txBody>
          <a:bodyPr lIns="179261" tIns="143408" rIns="179261" bIns="143408">
            <a:noAutofit/>
          </a:bodyPr>
          <a:lstStyle>
            <a:lvl1pPr marL="0" indent="0">
              <a:spcBef>
                <a:spcPts val="0"/>
              </a:spcBef>
              <a:buNone/>
              <a:defRPr sz="3500" spc="0" baseline="0">
                <a:gradFill>
                  <a:gsLst>
                    <a:gs pos="5833">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6269394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89631" bIns="89631" anchor="t" anchorCtr="0"/>
          <a:lstStyle>
            <a:lvl1pPr>
              <a:defRPr sz="7100" spc="-98" baseline="0">
                <a:gradFill>
                  <a:gsLst>
                    <a:gs pos="5833">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4271704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89631" bIns="89631" anchor="t" anchorCtr="0"/>
          <a:lstStyle>
            <a:lvl1pPr>
              <a:defRPr sz="8600"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7021462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63" indent="-284763">
              <a:buClr>
                <a:schemeClr val="tx1"/>
              </a:buClr>
              <a:buSzPct val="90000"/>
              <a:buFont typeface="Arial" pitchFamily="34" charset="0"/>
              <a:buChar char="•"/>
              <a:defRPr sz="35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89" indent="-275427">
              <a:buClr>
                <a:schemeClr val="tx1"/>
              </a:buClr>
              <a:buSzPct val="90000"/>
              <a:buFont typeface="Arial" pitchFamily="34" charset="0"/>
              <a:buChar char="•"/>
              <a:defRPr sz="31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952" indent="-284763">
              <a:buClr>
                <a:schemeClr val="tx1"/>
              </a:buClr>
              <a:buSzPct val="90000"/>
              <a:buFont typeface="Arial" pitchFamily="34" charset="0"/>
              <a:buChar char="•"/>
              <a:defRPr sz="27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028" indent="-224076">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104" indent="-224076">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2380" tIns="76191" rIns="152380" bIns="76191"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7257333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192000" cy="731179"/>
          </a:xfrm>
        </p:spPr>
        <p:txBody>
          <a:bodyPr/>
          <a:lstStyle/>
          <a:p>
            <a:endParaRPr lang="en-US" dirty="0"/>
          </a:p>
        </p:txBody>
      </p:sp>
      <p:sp>
        <p:nvSpPr>
          <p:cNvPr id="2" name="Title 1"/>
          <p:cNvSpPr>
            <a:spLocks noGrp="1"/>
          </p:cNvSpPr>
          <p:nvPr>
            <p:ph type="title"/>
          </p:nvPr>
        </p:nvSpPr>
        <p:spPr>
          <a:xfrm>
            <a:off x="268927" y="1187620"/>
            <a:ext cx="4482436" cy="4482760"/>
          </a:xfrm>
        </p:spPr>
        <p:txBody>
          <a:bodyPr/>
          <a:lstStyle>
            <a:lvl1pPr>
              <a:defRPr sz="4700"/>
            </a:lvl1pPr>
          </a:lstStyle>
          <a:p>
            <a:r>
              <a:rPr lang="en-US" dirty="0"/>
              <a:t>Click to edit Master title style</a:t>
            </a:r>
          </a:p>
        </p:txBody>
      </p:sp>
    </p:spTree>
    <p:extLst>
      <p:ext uri="{BB962C8B-B14F-4D97-AF65-F5344CB8AC3E}">
        <p14:creationId xmlns:p14="http://schemas.microsoft.com/office/powerpoint/2010/main" val="468616753"/>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1"/>
            <a:ext cx="12192000" cy="731179"/>
          </a:xfrm>
        </p:spPr>
        <p:txBody>
          <a:bodyPr/>
          <a:lstStyle>
            <a:lvl1pPr marL="0" indent="0">
              <a:buNone/>
              <a:defRPr/>
            </a:lvl1pPr>
          </a:lstStyle>
          <a:p>
            <a:r>
              <a:rPr lang="en-US" dirty="0"/>
              <a:t>Click icon to add picture</a:t>
            </a:r>
          </a:p>
        </p:txBody>
      </p:sp>
      <p:sp>
        <p:nvSpPr>
          <p:cNvPr id="5" name="Text Placeholder 4"/>
          <p:cNvSpPr>
            <a:spLocks noGrp="1"/>
          </p:cNvSpPr>
          <p:nvPr>
            <p:ph type="body" sz="quarter" idx="12" hasCustomPrompt="1"/>
          </p:nvPr>
        </p:nvSpPr>
        <p:spPr>
          <a:xfrm>
            <a:off x="271105" y="2084172"/>
            <a:ext cx="5376684" cy="1793110"/>
          </a:xfrm>
          <a:noFill/>
        </p:spPr>
        <p:txBody>
          <a:bodyPr lIns="179261" tIns="143408" rIns="179261" bIns="143408">
            <a:noAutofit/>
          </a:bodyPr>
          <a:lstStyle>
            <a:lvl1pPr marL="0" indent="0">
              <a:spcBef>
                <a:spcPts val="0"/>
              </a:spcBef>
              <a:buNone/>
              <a:defRPr sz="3500" spc="0" baseline="0">
                <a:gradFill>
                  <a:gsLst>
                    <a:gs pos="46903">
                      <a:srgbClr val="FFFFFF"/>
                    </a:gs>
                    <a:gs pos="83000">
                      <a:srgbClr val="FFFFFF"/>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69304" y="291069"/>
            <a:ext cx="5378485" cy="1793104"/>
          </a:xfrm>
          <a:noFill/>
        </p:spPr>
        <p:txBody>
          <a:bodyPr lIns="143408" tIns="89631" rIns="143408" bIns="89631" anchor="t" anchorCtr="0"/>
          <a:lstStyle>
            <a:lvl1pPr>
              <a:defRPr sz="5900" spc="-98" baseline="0">
                <a:gradFill>
                  <a:gsLst>
                    <a:gs pos="46903">
                      <a:srgbClr val="FFFFFF"/>
                    </a:gs>
                    <a:gs pos="83000">
                      <a:srgbClr val="FFFFFF"/>
                    </a:gs>
                  </a:gsLst>
                  <a:lin ang="5400000" scaled="1"/>
                </a:gradFill>
              </a:defRPr>
            </a:lvl1pPr>
          </a:lstStyle>
          <a:p>
            <a:r>
              <a:rPr lang="en-US" dirty="0"/>
              <a:t>Presentation title</a:t>
            </a:r>
          </a:p>
        </p:txBody>
      </p:sp>
    </p:spTree>
    <p:extLst>
      <p:ext uri="{BB962C8B-B14F-4D97-AF65-F5344CB8AC3E}">
        <p14:creationId xmlns:p14="http://schemas.microsoft.com/office/powerpoint/2010/main" val="8054238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userDrawn="1">
          <p15:clr>
            <a:srgbClr val="C35EA4"/>
          </p15:clr>
        </p15:guide>
        <p15:guide id="2" orient="horz" pos="4104" userDrawn="1">
          <p15:clr>
            <a:srgbClr val="C35EA4"/>
          </p15:clr>
        </p15:guide>
        <p15:guide id="3" pos="288" userDrawn="1">
          <p15:clr>
            <a:srgbClr val="C35EA4"/>
          </p15:clr>
        </p15:guide>
        <p15:guide id="4" pos="7546" userDrawn="1">
          <p15:clr>
            <a:srgbClr val="C35EA4"/>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Closing logo slide 2">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2" y="3302732"/>
            <a:ext cx="1423303" cy="304828"/>
          </a:xfrm>
          <a:prstGeom prst="rect">
            <a:avLst/>
          </a:prstGeom>
        </p:spPr>
      </p:pic>
    </p:spTree>
    <p:extLst>
      <p:ext uri="{BB962C8B-B14F-4D97-AF65-F5344CB8AC3E}">
        <p14:creationId xmlns:p14="http://schemas.microsoft.com/office/powerpoint/2010/main" val="5368660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10360046" y="6149922"/>
            <a:ext cx="1383368" cy="296380"/>
          </a:xfrm>
          <a:prstGeom prst="rect">
            <a:avLst/>
          </a:prstGeom>
        </p:spPr>
      </p:pic>
      <p:sp>
        <p:nvSpPr>
          <p:cNvPr id="5" name="Text Placeholder 4"/>
          <p:cNvSpPr>
            <a:spLocks noGrp="1"/>
          </p:cNvSpPr>
          <p:nvPr>
            <p:ph type="body" sz="quarter" idx="12" hasCustomPrompt="1"/>
          </p:nvPr>
        </p:nvSpPr>
        <p:spPr>
          <a:xfrm>
            <a:off x="271105" y="3877273"/>
            <a:ext cx="6273417" cy="1794661"/>
          </a:xfrm>
          <a:noFill/>
        </p:spPr>
        <p:txBody>
          <a:bodyPr lIns="146237" tIns="109676" rIns="146237" bIns="109676">
            <a:noAutofit/>
          </a:bodyPr>
          <a:lstStyle>
            <a:lvl1pPr marL="0" indent="0">
              <a:spcBef>
                <a:spcPts val="0"/>
              </a:spcBef>
              <a:buNone/>
              <a:defRPr sz="3431"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237" tIns="91399" rIns="146237" bIns="91399" anchor="t" anchorCtr="0"/>
          <a:lstStyle>
            <a:lvl1pPr>
              <a:defRPr sz="5784" spc="-99" baseline="0">
                <a:gradFill>
                  <a:gsLst>
                    <a:gs pos="3333">
                      <a:schemeClr val="tx2"/>
                    </a:gs>
                    <a:gs pos="39000">
                      <a:schemeClr val="tx2"/>
                    </a:gs>
                  </a:gsLst>
                  <a:lin ang="5400000" scaled="0"/>
                </a:gradFill>
              </a:defRPr>
            </a:lvl1pPr>
          </a:lstStyle>
          <a:p>
            <a:r>
              <a:rPr lang="en-US" dirty="0"/>
              <a:t>Presentation title</a:t>
            </a:r>
          </a:p>
        </p:txBody>
      </p:sp>
    </p:spTree>
    <p:extLst>
      <p:ext uri="{BB962C8B-B14F-4D97-AF65-F5344CB8AC3E}">
        <p14:creationId xmlns:p14="http://schemas.microsoft.com/office/powerpoint/2010/main" val="8074871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accent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3"/>
            <a:ext cx="6273417" cy="1794661"/>
          </a:xfrm>
          <a:noFill/>
        </p:spPr>
        <p:txBody>
          <a:bodyPr lIns="146237" tIns="109676" rIns="146237" bIns="109676">
            <a:noAutofit/>
          </a:bodyPr>
          <a:lstStyle>
            <a:lvl1pPr marL="0" indent="0">
              <a:spcBef>
                <a:spcPts val="0"/>
              </a:spcBef>
              <a:buNone/>
              <a:defRPr sz="3431"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237" tIns="91399" rIns="146237" bIns="91399" anchor="t" anchorCtr="0"/>
          <a:lstStyle>
            <a:lvl1pPr>
              <a:defRPr sz="5784" spc="-99" baseline="0">
                <a:gradFill>
                  <a:gsLst>
                    <a:gs pos="3333">
                      <a:schemeClr val="tx1"/>
                    </a:gs>
                    <a:gs pos="39000">
                      <a:schemeClr val="tx1"/>
                    </a:gs>
                  </a:gsLst>
                  <a:lin ang="5400000" scaled="0"/>
                </a:gradFill>
              </a:defRPr>
            </a:lvl1pPr>
          </a:lstStyle>
          <a:p>
            <a:r>
              <a:rPr lang="en-US" dirty="0"/>
              <a:t>Presentation title</a:t>
            </a:r>
          </a:p>
        </p:txBody>
      </p:sp>
    </p:spTree>
    <p:extLst>
      <p:ext uri="{BB962C8B-B14F-4D97-AF65-F5344CB8AC3E}">
        <p14:creationId xmlns:p14="http://schemas.microsoft.com/office/powerpoint/2010/main" val="7728178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3"/>
            <a:ext cx="6273417" cy="1794661"/>
          </a:xfrm>
          <a:noFill/>
        </p:spPr>
        <p:txBody>
          <a:bodyPr lIns="146237" tIns="109676" rIns="146237" bIns="109676">
            <a:noAutofit/>
          </a:bodyPr>
          <a:lstStyle>
            <a:lvl1pPr marL="0" indent="0">
              <a:spcBef>
                <a:spcPts val="0"/>
              </a:spcBef>
              <a:buNone/>
              <a:defRPr sz="3431"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237" tIns="91399" rIns="146237" bIns="91399" anchor="t" anchorCtr="0"/>
          <a:lstStyle>
            <a:lvl1pPr>
              <a:defRPr sz="5784" spc="-99" baseline="0">
                <a:gradFill>
                  <a:gsLst>
                    <a:gs pos="1250">
                      <a:schemeClr val="bg1">
                        <a:lumMod val="50000"/>
                      </a:schemeClr>
                    </a:gs>
                    <a:gs pos="100000">
                      <a:schemeClr val="bg1">
                        <a:lumMod val="50000"/>
                      </a:schemeClr>
                    </a:gs>
                  </a:gsLst>
                  <a:lin ang="5400000" scaled="0"/>
                </a:gradFill>
              </a:defRPr>
            </a:lvl1pPr>
          </a:lstStyle>
          <a:p>
            <a:r>
              <a:rPr lang="en-US" dirty="0"/>
              <a:t>Presentation title</a:t>
            </a:r>
          </a:p>
        </p:txBody>
      </p:sp>
    </p:spTree>
    <p:extLst>
      <p:ext uri="{BB962C8B-B14F-4D97-AF65-F5344CB8AC3E}">
        <p14:creationId xmlns:p14="http://schemas.microsoft.com/office/powerpoint/2010/main" val="35055255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Title Slide 3">
    <p:bg>
      <p:bgPr>
        <a:solidFill>
          <a:schemeClr val="accent4"/>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3"/>
            <a:ext cx="6273417" cy="1794661"/>
          </a:xfrm>
          <a:noFill/>
        </p:spPr>
        <p:txBody>
          <a:bodyPr lIns="146237" tIns="109676" rIns="146237" bIns="109676">
            <a:noAutofit/>
          </a:bodyPr>
          <a:lstStyle>
            <a:lvl1pPr marL="0" indent="0">
              <a:spcBef>
                <a:spcPts val="0"/>
              </a:spcBef>
              <a:buNone/>
              <a:defRPr sz="3431"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237" tIns="91399" rIns="146237" bIns="91399" anchor="t" anchorCtr="0"/>
          <a:lstStyle>
            <a:lvl1pPr>
              <a:defRPr sz="5784" spc="-99" baseline="0">
                <a:gradFill>
                  <a:gsLst>
                    <a:gs pos="1250">
                      <a:schemeClr val="bg1">
                        <a:lumMod val="50000"/>
                      </a:schemeClr>
                    </a:gs>
                    <a:gs pos="100000">
                      <a:schemeClr val="bg1">
                        <a:lumMod val="50000"/>
                      </a:schemeClr>
                    </a:gs>
                  </a:gsLst>
                  <a:lin ang="5400000" scaled="0"/>
                </a:gradFill>
              </a:defRPr>
            </a:lvl1pPr>
          </a:lstStyle>
          <a:p>
            <a:r>
              <a:rPr lang="en-US" dirty="0"/>
              <a:t>Presentation title</a:t>
            </a:r>
          </a:p>
        </p:txBody>
      </p:sp>
    </p:spTree>
    <p:extLst>
      <p:ext uri="{BB962C8B-B14F-4D97-AF65-F5344CB8AC3E}">
        <p14:creationId xmlns:p14="http://schemas.microsoft.com/office/powerpoint/2010/main" val="37083160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_Title Slide 3">
    <p:bg>
      <p:bgPr>
        <a:solidFill>
          <a:schemeClr val="accent3"/>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3"/>
            <a:ext cx="6273417" cy="1794661"/>
          </a:xfrm>
          <a:noFill/>
        </p:spPr>
        <p:txBody>
          <a:bodyPr lIns="146237" tIns="109676" rIns="146237" bIns="109676">
            <a:noAutofit/>
          </a:bodyPr>
          <a:lstStyle>
            <a:lvl1pPr marL="0" indent="0">
              <a:spcBef>
                <a:spcPts val="0"/>
              </a:spcBef>
              <a:buNone/>
              <a:defRPr sz="3431"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237" tIns="91399" rIns="146237" bIns="91399" anchor="t" anchorCtr="0"/>
          <a:lstStyle>
            <a:lvl1pPr>
              <a:defRPr sz="5784" spc="-99" baseline="0">
                <a:gradFill>
                  <a:gsLst>
                    <a:gs pos="1250">
                      <a:schemeClr val="bg1">
                        <a:lumMod val="50000"/>
                      </a:schemeClr>
                    </a:gs>
                    <a:gs pos="100000">
                      <a:schemeClr val="bg1">
                        <a:lumMod val="50000"/>
                      </a:schemeClr>
                    </a:gs>
                  </a:gsLst>
                  <a:lin ang="5400000" scaled="0"/>
                </a:gradFill>
              </a:defRPr>
            </a:lvl1pPr>
          </a:lstStyle>
          <a:p>
            <a:r>
              <a:rPr lang="en-US" dirty="0"/>
              <a:t>Presentation title</a:t>
            </a:r>
          </a:p>
        </p:txBody>
      </p:sp>
    </p:spTree>
    <p:extLst>
      <p:ext uri="{BB962C8B-B14F-4D97-AF65-F5344CB8AC3E}">
        <p14:creationId xmlns:p14="http://schemas.microsoft.com/office/powerpoint/2010/main" val="5548129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4" name="Picture 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044317" y="5930712"/>
            <a:ext cx="1812954" cy="666978"/>
          </a:xfrm>
          <a:prstGeom prst="rect">
            <a:avLst/>
          </a:prstGeom>
        </p:spPr>
      </p:pic>
      <p:sp>
        <p:nvSpPr>
          <p:cNvPr id="12" name="Rectangle 11"/>
          <p:cNvSpPr/>
          <p:nvPr userDrawn="1"/>
        </p:nvSpPr>
        <p:spPr bwMode="gray">
          <a:xfrm>
            <a:off x="269302" y="1187620"/>
            <a:ext cx="7171399" cy="448276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1" tIns="143362" rIns="179201" bIns="143362" numCol="1" spcCol="0" rtlCol="0" fromWordArt="0" anchor="t" anchorCtr="0" forceAA="0" compatLnSpc="1">
            <a:prstTxWarp prst="textNoShape">
              <a:avLst/>
            </a:prstTxWarp>
            <a:noAutofit/>
          </a:bodyPr>
          <a:lstStyle/>
          <a:p>
            <a:pPr algn="ctr" defTabSz="913673">
              <a:lnSpc>
                <a:spcPct val="90000"/>
              </a:lnSpc>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239" y="1187620"/>
            <a:ext cx="7171399" cy="2242047"/>
          </a:xfrm>
          <a:noFill/>
        </p:spPr>
        <p:txBody>
          <a:bodyPr lIns="146237" tIns="91399" rIns="146237" bIns="91399" anchor="t" anchorCtr="0"/>
          <a:lstStyle>
            <a:lvl1pPr>
              <a:defRPr sz="5784" spc="-99" baseline="0">
                <a:gradFill>
                  <a:gsLst>
                    <a:gs pos="0">
                      <a:srgbClr val="FFFFFF"/>
                    </a:gs>
                    <a:gs pos="100000">
                      <a:srgbClr val="FFFFFF"/>
                    </a:gs>
                  </a:gsLst>
                  <a:lin ang="5400000" scaled="0"/>
                </a:gradFill>
              </a:defRPr>
            </a:lvl1pPr>
          </a:lstStyle>
          <a:p>
            <a:r>
              <a:rPr lang="en-US" dirty="0"/>
              <a:t>Presentation title</a:t>
            </a:r>
          </a:p>
        </p:txBody>
      </p:sp>
      <p:sp>
        <p:nvSpPr>
          <p:cNvPr id="15" name="Text Placeholder 4"/>
          <p:cNvSpPr>
            <a:spLocks noGrp="1"/>
          </p:cNvSpPr>
          <p:nvPr>
            <p:ph type="body" sz="quarter" idx="12" hasCustomPrompt="1"/>
          </p:nvPr>
        </p:nvSpPr>
        <p:spPr bwMode="ltGray">
          <a:xfrm>
            <a:off x="269302" y="3429667"/>
            <a:ext cx="7171399" cy="2240713"/>
          </a:xfrm>
          <a:noFill/>
        </p:spPr>
        <p:txBody>
          <a:bodyPr lIns="146237" tIns="109676" rIns="146237" bIns="109676">
            <a:noAutofit/>
          </a:bodyPr>
          <a:lstStyle>
            <a:lvl1pPr marL="0" indent="0">
              <a:spcBef>
                <a:spcPts val="0"/>
              </a:spcBef>
              <a:buNone/>
              <a:defRPr sz="3235" spc="0" baseline="0">
                <a:gradFill>
                  <a:gsLst>
                    <a:gs pos="1250">
                      <a:srgbClr val="FFFFFF"/>
                    </a:gs>
                    <a:gs pos="99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12527888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_Title Slide 6 ">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2" name="Rectangle 11"/>
          <p:cNvSpPr/>
          <p:nvPr userDrawn="1"/>
        </p:nvSpPr>
        <p:spPr bwMode="gray">
          <a:xfrm>
            <a:off x="269302" y="1187620"/>
            <a:ext cx="7171399" cy="4482760"/>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1" tIns="143362" rIns="179201" bIns="143362" numCol="1" spcCol="0" rtlCol="0" fromWordArt="0" anchor="t" anchorCtr="0" forceAA="0" compatLnSpc="1">
            <a:prstTxWarp prst="textNoShape">
              <a:avLst/>
            </a:prstTxWarp>
            <a:noAutofit/>
          </a:bodyPr>
          <a:lstStyle/>
          <a:p>
            <a:pPr algn="ctr" defTabSz="913673">
              <a:lnSpc>
                <a:spcPct val="90000"/>
              </a:lnSpc>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black">
          <a:xfrm>
            <a:off x="269239" y="1187626"/>
            <a:ext cx="7171399" cy="2205807"/>
          </a:xfrm>
          <a:noFill/>
        </p:spPr>
        <p:txBody>
          <a:bodyPr lIns="146237" tIns="91399" rIns="146237" bIns="91399" anchor="t" anchorCtr="0"/>
          <a:lstStyle>
            <a:lvl1pPr>
              <a:defRPr sz="5784" spc="-99" baseline="0">
                <a:gradFill>
                  <a:gsLst>
                    <a:gs pos="0">
                      <a:schemeClr val="tx1">
                        <a:lumMod val="50000"/>
                      </a:schemeClr>
                    </a:gs>
                    <a:gs pos="100000">
                      <a:schemeClr val="tx1">
                        <a:lumMod val="50000"/>
                      </a:schemeClr>
                    </a:gs>
                  </a:gsLst>
                  <a:lin ang="5400000" scaled="0"/>
                </a:gradFill>
              </a:defRPr>
            </a:lvl1pPr>
          </a:lstStyle>
          <a:p>
            <a:r>
              <a:rPr lang="en-US" dirty="0"/>
              <a:t>Presentation title</a:t>
            </a:r>
          </a:p>
        </p:txBody>
      </p:sp>
      <p:sp>
        <p:nvSpPr>
          <p:cNvPr id="15" name="Text Placeholder 4"/>
          <p:cNvSpPr>
            <a:spLocks noGrp="1"/>
          </p:cNvSpPr>
          <p:nvPr>
            <p:ph type="body" sz="quarter" idx="12" hasCustomPrompt="1"/>
          </p:nvPr>
        </p:nvSpPr>
        <p:spPr bwMode="black">
          <a:xfrm>
            <a:off x="269302" y="3415442"/>
            <a:ext cx="7171399" cy="2232935"/>
          </a:xfrm>
          <a:noFill/>
        </p:spPr>
        <p:txBody>
          <a:bodyPr lIns="146237" tIns="109676" rIns="146237" bIns="109676">
            <a:noAutofit/>
          </a:bodyPr>
          <a:lstStyle>
            <a:lvl1pPr marL="0" indent="0">
              <a:spcBef>
                <a:spcPts val="0"/>
              </a:spcBef>
              <a:buNone/>
              <a:defRPr sz="3235" spc="0" baseline="0">
                <a:gradFill>
                  <a:gsLst>
                    <a:gs pos="0">
                      <a:schemeClr val="tx1">
                        <a:lumMod val="50000"/>
                      </a:schemeClr>
                    </a:gs>
                    <a:gs pos="100000">
                      <a:schemeClr val="tx1">
                        <a:lumMod val="50000"/>
                      </a:schemeClr>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044317" y="5930712"/>
            <a:ext cx="1812954" cy="666978"/>
          </a:xfrm>
          <a:prstGeom prst="rect">
            <a:avLst/>
          </a:prstGeom>
        </p:spPr>
      </p:pic>
    </p:spTree>
    <p:extLst>
      <p:ext uri="{BB962C8B-B14F-4D97-AF65-F5344CB8AC3E}">
        <p14:creationId xmlns:p14="http://schemas.microsoft.com/office/powerpoint/2010/main" val="19158401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a:ext>
            </a:extLst>
          </a:blip>
          <a:srcRect r="-3"/>
          <a:stretch/>
        </p:blipFill>
        <p:spPr>
          <a:xfrm flipH="1">
            <a:off x="-2" y="0"/>
            <a:ext cx="12192001" cy="6858000"/>
          </a:xfrm>
          <a:prstGeom prst="rect">
            <a:avLst/>
          </a:prstGeom>
        </p:spPr>
      </p:pic>
      <p:sp>
        <p:nvSpPr>
          <p:cNvPr id="13" name="Rectangle 12"/>
          <p:cNvSpPr/>
          <p:nvPr userDrawn="1"/>
        </p:nvSpPr>
        <p:spPr bwMode="gray">
          <a:xfrm>
            <a:off x="269302" y="2084147"/>
            <a:ext cx="7171399" cy="3586208"/>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1" tIns="143362" rIns="179201" bIns="143362" numCol="1" spcCol="0" rtlCol="0" fromWordArt="0" anchor="t" anchorCtr="0" forceAA="0" compatLnSpc="1">
            <a:prstTxWarp prst="textNoShape">
              <a:avLst/>
            </a:prstTxWarp>
            <a:noAutofit/>
          </a:bodyPr>
          <a:lstStyle/>
          <a:p>
            <a:pPr algn="ctr" defTabSz="913673">
              <a:lnSpc>
                <a:spcPct val="90000"/>
              </a:lnSpc>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302" y="2082443"/>
            <a:ext cx="7171399" cy="1794808"/>
          </a:xfrm>
          <a:noFill/>
        </p:spPr>
        <p:txBody>
          <a:bodyPr lIns="146237" tIns="91399" rIns="146237" bIns="91399" anchor="t" anchorCtr="0"/>
          <a:lstStyle>
            <a:lvl1pPr>
              <a:defRPr sz="5196" spc="-99" baseline="0">
                <a:gradFill>
                  <a:gsLst>
                    <a:gs pos="5833">
                      <a:srgbClr val="FFFFFF"/>
                    </a:gs>
                    <a:gs pos="18000">
                      <a:srgbClr val="FFFFFF"/>
                    </a:gs>
                  </a:gsLst>
                  <a:lin ang="5400000" scaled="0"/>
                </a:gradFill>
              </a:defRPr>
            </a:lvl1pPr>
          </a:lstStyle>
          <a:p>
            <a:r>
              <a:rPr lang="en-US" dirty="0"/>
              <a:t>Presentation title</a:t>
            </a:r>
          </a:p>
        </p:txBody>
      </p:sp>
      <p:sp>
        <p:nvSpPr>
          <p:cNvPr id="15" name="Text Placeholder 2"/>
          <p:cNvSpPr>
            <a:spLocks noGrp="1"/>
          </p:cNvSpPr>
          <p:nvPr>
            <p:ph type="body" sz="quarter" idx="14"/>
          </p:nvPr>
        </p:nvSpPr>
        <p:spPr bwMode="ltGray">
          <a:xfrm>
            <a:off x="269302" y="3877260"/>
            <a:ext cx="7171399" cy="1789991"/>
          </a:xfrm>
        </p:spPr>
        <p:txBody>
          <a:bodyPr tIns="109676" bIns="109676">
            <a:noAutofit/>
          </a:bodyPr>
          <a:lstStyle>
            <a:lvl1pPr marL="0" indent="0">
              <a:spcBef>
                <a:spcPts val="0"/>
              </a:spcBef>
              <a:buNone/>
              <a:defRPr sz="3235">
                <a:gradFill>
                  <a:gsLst>
                    <a:gs pos="1250">
                      <a:srgbClr val="FFFFFF"/>
                    </a:gs>
                    <a:gs pos="99000">
                      <a:srgbClr val="FFFFFF"/>
                    </a:gs>
                  </a:gsLst>
                  <a:lin ang="5400000" scaled="0"/>
                </a:gradFill>
              </a:defRPr>
            </a:lvl1pPr>
          </a:lstStyle>
          <a:p>
            <a:pPr lvl="0"/>
            <a:r>
              <a:rPr lang="en-US"/>
              <a:t>Click to edit Master text styles</a:t>
            </a:r>
          </a:p>
        </p:txBody>
      </p:sp>
      <p:pic>
        <p:nvPicPr>
          <p:cNvPr id="10" name="Picture 9"/>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044317" y="5930712"/>
            <a:ext cx="1812954" cy="666978"/>
          </a:xfrm>
          <a:prstGeom prst="rect">
            <a:avLst/>
          </a:prstGeom>
        </p:spPr>
      </p:pic>
    </p:spTree>
    <p:extLst>
      <p:ext uri="{BB962C8B-B14F-4D97-AF65-F5344CB8AC3E}">
        <p14:creationId xmlns:p14="http://schemas.microsoft.com/office/powerpoint/2010/main" val="35375740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2882317349"/>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Title Slide 7">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a:ext>
            </a:extLst>
          </a:blip>
          <a:srcRect r="-3"/>
          <a:stretch/>
        </p:blipFill>
        <p:spPr>
          <a:xfrm flipH="1">
            <a:off x="-2" y="0"/>
            <a:ext cx="12192001" cy="6858000"/>
          </a:xfrm>
          <a:prstGeom prst="rect">
            <a:avLst/>
          </a:prstGeom>
        </p:spPr>
      </p:pic>
      <p:sp>
        <p:nvSpPr>
          <p:cNvPr id="13" name="Rectangle 12"/>
          <p:cNvSpPr/>
          <p:nvPr userDrawn="1"/>
        </p:nvSpPr>
        <p:spPr bwMode="gray">
          <a:xfrm>
            <a:off x="269302" y="2084147"/>
            <a:ext cx="7171399" cy="3586208"/>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1" tIns="143362" rIns="179201" bIns="143362" numCol="1" spcCol="0" rtlCol="0" fromWordArt="0" anchor="t" anchorCtr="0" forceAA="0" compatLnSpc="1">
            <a:prstTxWarp prst="textNoShape">
              <a:avLst/>
            </a:prstTxWarp>
            <a:noAutofit/>
          </a:bodyPr>
          <a:lstStyle/>
          <a:p>
            <a:pPr algn="ctr" defTabSz="913673">
              <a:lnSpc>
                <a:spcPct val="90000"/>
              </a:lnSpc>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black">
          <a:xfrm>
            <a:off x="269302" y="2082443"/>
            <a:ext cx="7171399" cy="1794808"/>
          </a:xfrm>
          <a:noFill/>
        </p:spPr>
        <p:txBody>
          <a:bodyPr lIns="146237" tIns="91399" rIns="146237" bIns="91399" anchor="t" anchorCtr="0"/>
          <a:lstStyle>
            <a:lvl1pPr>
              <a:defRPr sz="5196" spc="-99" baseline="0">
                <a:gradFill>
                  <a:gsLst>
                    <a:gs pos="2917">
                      <a:schemeClr val="tx1">
                        <a:lumMod val="50000"/>
                      </a:schemeClr>
                    </a:gs>
                    <a:gs pos="100000">
                      <a:schemeClr val="tx1">
                        <a:lumMod val="50000"/>
                      </a:schemeClr>
                    </a:gs>
                  </a:gsLst>
                  <a:lin ang="5400000" scaled="0"/>
                </a:gradFill>
              </a:defRPr>
            </a:lvl1pPr>
          </a:lstStyle>
          <a:p>
            <a:r>
              <a:rPr lang="en-US" dirty="0"/>
              <a:t>Presentation title</a:t>
            </a:r>
          </a:p>
        </p:txBody>
      </p:sp>
      <p:sp>
        <p:nvSpPr>
          <p:cNvPr id="15" name="Text Placeholder 2"/>
          <p:cNvSpPr>
            <a:spLocks noGrp="1"/>
          </p:cNvSpPr>
          <p:nvPr>
            <p:ph type="body" sz="quarter" idx="14"/>
          </p:nvPr>
        </p:nvSpPr>
        <p:spPr bwMode="black">
          <a:xfrm>
            <a:off x="269302" y="3877260"/>
            <a:ext cx="7171399" cy="1789991"/>
          </a:xfrm>
        </p:spPr>
        <p:txBody>
          <a:bodyPr tIns="109676" bIns="109676">
            <a:noAutofit/>
          </a:bodyPr>
          <a:lstStyle>
            <a:lvl1pPr marL="0" indent="0">
              <a:spcBef>
                <a:spcPts val="0"/>
              </a:spcBef>
              <a:buNone/>
              <a:defRPr sz="3235">
                <a:gradFill>
                  <a:gsLst>
                    <a:gs pos="2917">
                      <a:schemeClr val="tx1">
                        <a:lumMod val="50000"/>
                      </a:schemeClr>
                    </a:gs>
                    <a:gs pos="100000">
                      <a:schemeClr val="tx1">
                        <a:lumMod val="50000"/>
                      </a:schemeClr>
                    </a:gs>
                  </a:gsLst>
                  <a:lin ang="5400000" scaled="0"/>
                </a:gradFill>
              </a:defRPr>
            </a:lvl1pPr>
          </a:lstStyle>
          <a:p>
            <a:pPr lvl="0"/>
            <a:r>
              <a:rPr lang="en-US"/>
              <a:t>Click to edit Master text styles</a:t>
            </a:r>
          </a:p>
        </p:txBody>
      </p:sp>
      <p:pic>
        <p:nvPicPr>
          <p:cNvPr id="10" name="Picture 9"/>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044317" y="5930712"/>
            <a:ext cx="1812954" cy="666978"/>
          </a:xfrm>
          <a:prstGeom prst="rect">
            <a:avLst/>
          </a:prstGeom>
        </p:spPr>
      </p:pic>
    </p:spTree>
    <p:extLst>
      <p:ext uri="{BB962C8B-B14F-4D97-AF65-F5344CB8AC3E}">
        <p14:creationId xmlns:p14="http://schemas.microsoft.com/office/powerpoint/2010/main" val="40508988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149"/>
            <a:ext cx="12192000" cy="6855702"/>
          </a:xfrm>
          <a:prstGeom prst="rect">
            <a:avLst/>
          </a:prstGeom>
        </p:spPr>
      </p:pic>
      <p:pic>
        <p:nvPicPr>
          <p:cNvPr id="14" name="Picture 1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35125" y="5930712"/>
            <a:ext cx="1812954" cy="666978"/>
          </a:xfrm>
          <a:prstGeom prst="rect">
            <a:avLst/>
          </a:prstGeom>
        </p:spPr>
      </p:pic>
      <p:sp>
        <p:nvSpPr>
          <p:cNvPr id="10" name="Rectangle 9"/>
          <p:cNvSpPr/>
          <p:nvPr userDrawn="1"/>
        </p:nvSpPr>
        <p:spPr bwMode="gray">
          <a:xfrm>
            <a:off x="269302" y="1187620"/>
            <a:ext cx="7171399" cy="3586208"/>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1" tIns="143362" rIns="179201" bIns="143362" numCol="1" spcCol="0" rtlCol="0" fromWordArt="0" anchor="t" anchorCtr="0" forceAA="0" compatLnSpc="1">
            <a:prstTxWarp prst="textNoShape">
              <a:avLst/>
            </a:prstTxWarp>
            <a:noAutofit/>
          </a:bodyPr>
          <a:lstStyle/>
          <a:p>
            <a:pPr algn="ctr" defTabSz="913673">
              <a:lnSpc>
                <a:spcPct val="90000"/>
              </a:lnSpc>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69239" y="1187620"/>
            <a:ext cx="7171399" cy="1793108"/>
          </a:xfrm>
          <a:noFill/>
        </p:spPr>
        <p:txBody>
          <a:bodyPr lIns="146237" tIns="91399" rIns="146237" bIns="91399" anchor="t" anchorCtr="0"/>
          <a:lstStyle>
            <a:lvl1pPr>
              <a:defRPr sz="5784" spc="-99" baseline="0">
                <a:gradFill>
                  <a:gsLst>
                    <a:gs pos="0">
                      <a:srgbClr val="FFFFFF"/>
                    </a:gs>
                    <a:gs pos="100000">
                      <a:srgbClr val="FFFFFF"/>
                    </a:gs>
                  </a:gsLst>
                  <a:lin ang="5400000" scaled="0"/>
                </a:gradFill>
              </a:defRPr>
            </a:lvl1pPr>
          </a:lstStyle>
          <a:p>
            <a:r>
              <a:rPr lang="en-US" dirty="0"/>
              <a:t>Presentation title</a:t>
            </a:r>
          </a:p>
        </p:txBody>
      </p:sp>
      <p:sp>
        <p:nvSpPr>
          <p:cNvPr id="12" name="Text Placeholder 4"/>
          <p:cNvSpPr>
            <a:spLocks noGrp="1"/>
          </p:cNvSpPr>
          <p:nvPr>
            <p:ph type="body" sz="quarter" idx="12" hasCustomPrompt="1"/>
          </p:nvPr>
        </p:nvSpPr>
        <p:spPr bwMode="ltGray">
          <a:xfrm>
            <a:off x="269302" y="2971385"/>
            <a:ext cx="7171399" cy="1794661"/>
          </a:xfrm>
          <a:noFill/>
        </p:spPr>
        <p:txBody>
          <a:bodyPr lIns="146237" tIns="109676" rIns="146237" bIns="109676">
            <a:noAutofit/>
          </a:bodyPr>
          <a:lstStyle>
            <a:lvl1pPr marL="0" indent="0">
              <a:spcBef>
                <a:spcPts val="0"/>
              </a:spcBef>
              <a:buNone/>
              <a:defRPr sz="3235" spc="0" baseline="0">
                <a:gradFill>
                  <a:gsLst>
                    <a:gs pos="1250">
                      <a:srgbClr val="FFFFFF"/>
                    </a:gs>
                    <a:gs pos="99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93054875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_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149"/>
            <a:ext cx="12192000" cy="6855702"/>
          </a:xfrm>
          <a:prstGeom prst="rect">
            <a:avLst/>
          </a:prstGeom>
        </p:spPr>
      </p:pic>
      <p:sp>
        <p:nvSpPr>
          <p:cNvPr id="10" name="Rectangle 9"/>
          <p:cNvSpPr/>
          <p:nvPr userDrawn="1"/>
        </p:nvSpPr>
        <p:spPr bwMode="gray">
          <a:xfrm>
            <a:off x="269302" y="1187620"/>
            <a:ext cx="7171399" cy="3586208"/>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1" tIns="143362" rIns="179201" bIns="143362" numCol="1" spcCol="0" rtlCol="0" fromWordArt="0" anchor="t" anchorCtr="0" forceAA="0" compatLnSpc="1">
            <a:prstTxWarp prst="textNoShape">
              <a:avLst/>
            </a:prstTxWarp>
            <a:noAutofit/>
          </a:bodyPr>
          <a:lstStyle/>
          <a:p>
            <a:pPr algn="ctr" defTabSz="913673">
              <a:lnSpc>
                <a:spcPct val="90000"/>
              </a:lnSpc>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black">
          <a:xfrm>
            <a:off x="269239" y="1187620"/>
            <a:ext cx="7171399" cy="1793108"/>
          </a:xfrm>
          <a:noFill/>
        </p:spPr>
        <p:txBody>
          <a:bodyPr lIns="146237" tIns="91399" rIns="146237" bIns="91399" anchor="t" anchorCtr="0"/>
          <a:lstStyle>
            <a:lvl1pPr>
              <a:defRPr sz="5784" spc="-99" baseline="0">
                <a:gradFill>
                  <a:gsLst>
                    <a:gs pos="2917">
                      <a:schemeClr val="tx1">
                        <a:lumMod val="50000"/>
                      </a:schemeClr>
                    </a:gs>
                    <a:gs pos="100000">
                      <a:schemeClr val="tx1">
                        <a:lumMod val="50000"/>
                      </a:schemeClr>
                    </a:gs>
                  </a:gsLst>
                  <a:lin ang="5400000" scaled="0"/>
                </a:gradFill>
              </a:defRPr>
            </a:lvl1pPr>
          </a:lstStyle>
          <a:p>
            <a:r>
              <a:rPr lang="en-US" dirty="0"/>
              <a:t>Presentation title</a:t>
            </a:r>
          </a:p>
        </p:txBody>
      </p:sp>
      <p:sp>
        <p:nvSpPr>
          <p:cNvPr id="12" name="Text Placeholder 4"/>
          <p:cNvSpPr>
            <a:spLocks noGrp="1"/>
          </p:cNvSpPr>
          <p:nvPr>
            <p:ph type="body" sz="quarter" idx="12" hasCustomPrompt="1"/>
          </p:nvPr>
        </p:nvSpPr>
        <p:spPr bwMode="black">
          <a:xfrm>
            <a:off x="269302" y="2971385"/>
            <a:ext cx="7171399" cy="1794661"/>
          </a:xfrm>
          <a:noFill/>
        </p:spPr>
        <p:txBody>
          <a:bodyPr lIns="146237" tIns="109676" rIns="146237" bIns="109676">
            <a:noAutofit/>
          </a:bodyPr>
          <a:lstStyle>
            <a:lvl1pPr marL="0" indent="0">
              <a:spcBef>
                <a:spcPts val="0"/>
              </a:spcBef>
              <a:buNone/>
              <a:defRPr sz="3235" spc="0" baseline="0">
                <a:gradFill>
                  <a:gsLst>
                    <a:gs pos="2917">
                      <a:schemeClr val="tx1">
                        <a:lumMod val="50000"/>
                      </a:schemeClr>
                    </a:gs>
                    <a:gs pos="100000">
                      <a:schemeClr val="tx1">
                        <a:lumMod val="50000"/>
                      </a:schemeClr>
                    </a:gs>
                  </a:gsLst>
                  <a:lin ang="5400000" scaled="0"/>
                </a:gradFill>
                <a:latin typeface="+mj-lt"/>
              </a:defRPr>
            </a:lvl1pPr>
          </a:lstStyle>
          <a:p>
            <a:pPr lvl="0"/>
            <a:r>
              <a:rPr lang="en-US" dirty="0"/>
              <a:t>Speaker Name</a:t>
            </a:r>
          </a:p>
        </p:txBody>
      </p:sp>
      <p:pic>
        <p:nvPicPr>
          <p:cNvPr id="13" name="Picture 1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35125" y="5930712"/>
            <a:ext cx="1812954" cy="666978"/>
          </a:xfrm>
          <a:prstGeom prst="rect">
            <a:avLst/>
          </a:prstGeom>
        </p:spPr>
      </p:pic>
    </p:spTree>
    <p:extLst>
      <p:ext uri="{BB962C8B-B14F-4D97-AF65-F5344CB8AC3E}">
        <p14:creationId xmlns:p14="http://schemas.microsoft.com/office/powerpoint/2010/main" val="10639361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1" tIns="143362" rIns="179201" bIns="143362" numCol="1" spcCol="0" rtlCol="0" fromWordArt="0" anchor="t" anchorCtr="0" forceAA="0" compatLnSpc="1">
            <a:prstTxWarp prst="textNoShape">
              <a:avLst/>
            </a:prstTxWarp>
            <a:noAutofit/>
          </a:bodyPr>
          <a:lstStyle/>
          <a:p>
            <a:pPr algn="ctr" defTabSz="913673">
              <a:lnSpc>
                <a:spcPct val="90000"/>
              </a:lnSpc>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0" y="1186358"/>
            <a:ext cx="9859116" cy="2697988"/>
          </a:xfrm>
          <a:noFill/>
        </p:spPr>
        <p:txBody>
          <a:bodyPr tIns="91399" bIns="91399" anchor="t" anchorCtr="0"/>
          <a:lstStyle>
            <a:lvl1pPr>
              <a:defRPr sz="7058" spc="-99"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82"/>
            <a:ext cx="9860673" cy="1793881"/>
          </a:xfrm>
          <a:noFill/>
        </p:spPr>
        <p:txBody>
          <a:bodyPr lIns="182794" tIns="146237" rIns="182794" bIns="146237">
            <a:noAutofit/>
          </a:bodyPr>
          <a:lstStyle>
            <a:lvl1pPr marL="0" indent="0">
              <a:spcBef>
                <a:spcPts val="0"/>
              </a:spcBef>
              <a:buNone/>
              <a:defRPr sz="3431"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7611580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1" tIns="143362" rIns="179201" bIns="143362" numCol="1" spcCol="0" rtlCol="0" fromWordArt="0" anchor="t" anchorCtr="0" forceAA="0" compatLnSpc="1">
            <a:prstTxWarp prst="textNoShape">
              <a:avLst/>
            </a:prstTxWarp>
            <a:noAutofit/>
          </a:bodyPr>
          <a:lstStyle/>
          <a:p>
            <a:pPr algn="ctr" defTabSz="913673">
              <a:lnSpc>
                <a:spcPct val="90000"/>
              </a:lnSpc>
            </a:pPr>
            <a:endParaRPr lang="en-US" sz="1765" dirty="0">
              <a:gradFill>
                <a:gsLst>
                  <a:gs pos="0">
                    <a:srgbClr val="505050">
                      <a:lumMod val="50000"/>
                    </a:srgbClr>
                  </a:gs>
                  <a:gs pos="100000">
                    <a:srgbClr val="505050">
                      <a:lumMod val="50000"/>
                    </a:srgbClr>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399" bIns="91399" anchor="t" anchorCtr="0"/>
          <a:lstStyle>
            <a:lvl1pPr>
              <a:defRPr sz="7058" spc="-99" baseline="0">
                <a:gradFill>
                  <a:gsLst>
                    <a:gs pos="5833">
                      <a:schemeClr val="bg1">
                        <a:lumMod val="50000"/>
                      </a:schemeClr>
                    </a:gs>
                    <a:gs pos="100000">
                      <a:schemeClr val="bg1">
                        <a:lumMod val="50000"/>
                      </a:schemeClr>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82"/>
            <a:ext cx="9860673" cy="1793881"/>
          </a:xfrm>
          <a:noFill/>
        </p:spPr>
        <p:txBody>
          <a:bodyPr lIns="182794" tIns="146237" rIns="182794" bIns="146237">
            <a:noAutofit/>
          </a:bodyPr>
          <a:lstStyle>
            <a:lvl1pPr marL="0" indent="0">
              <a:spcBef>
                <a:spcPts val="0"/>
              </a:spcBef>
              <a:buNone/>
              <a:defRPr sz="3431"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074472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1" tIns="143362" rIns="179201" bIns="143362" numCol="1" spcCol="0" rtlCol="0" fromWordArt="0" anchor="t" anchorCtr="0" forceAA="0" compatLnSpc="1">
            <a:prstTxWarp prst="textNoShape">
              <a:avLst/>
            </a:prstTxWarp>
            <a:noAutofit/>
          </a:bodyPr>
          <a:lstStyle/>
          <a:p>
            <a:pPr algn="ctr" defTabSz="913673">
              <a:lnSpc>
                <a:spcPct val="90000"/>
              </a:lnSpc>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399" bIns="91399" anchor="t" anchorCtr="0"/>
          <a:lstStyle>
            <a:lvl1pPr>
              <a:defRPr sz="7058" spc="-99" baseline="0">
                <a:gradFill>
                  <a:gsLst>
                    <a:gs pos="5833">
                      <a:schemeClr val="tx1">
                        <a:lumMod val="50000"/>
                      </a:schemeClr>
                    </a:gs>
                    <a:gs pos="100000">
                      <a:schemeClr val="tx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340010999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1" tIns="143362" rIns="179201" bIns="143362" numCol="1" spcCol="0" rtlCol="0" fromWordArt="0" anchor="t" anchorCtr="0" forceAA="0" compatLnSpc="1">
            <a:prstTxWarp prst="textNoShape">
              <a:avLst/>
            </a:prstTxWarp>
            <a:noAutofit/>
          </a:bodyPr>
          <a:lstStyle/>
          <a:p>
            <a:pPr algn="ctr" defTabSz="913673">
              <a:lnSpc>
                <a:spcPct val="90000"/>
              </a:lnSpc>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399" bIns="91399" anchor="t" anchorCtr="0"/>
          <a:lstStyle>
            <a:lvl1pPr>
              <a:defRPr sz="7058" spc="-99" baseline="0">
                <a:gradFill>
                  <a:gsLst>
                    <a:gs pos="5833">
                      <a:schemeClr val="tx1">
                        <a:lumMod val="50000"/>
                      </a:schemeClr>
                    </a:gs>
                    <a:gs pos="100000">
                      <a:schemeClr val="tx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36376829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_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1" tIns="143362" rIns="179201" bIns="143362" numCol="1" spcCol="0" rtlCol="0" fromWordArt="0" anchor="t" anchorCtr="0" forceAA="0" compatLnSpc="1">
            <a:prstTxWarp prst="textNoShape">
              <a:avLst/>
            </a:prstTxWarp>
            <a:noAutofit/>
          </a:bodyPr>
          <a:lstStyle/>
          <a:p>
            <a:pPr algn="ctr" defTabSz="913673">
              <a:lnSpc>
                <a:spcPct val="90000"/>
              </a:lnSpc>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399" bIns="91399" anchor="t" anchorCtr="0"/>
          <a:lstStyle>
            <a:lvl1pPr>
              <a:defRPr sz="7058" spc="-99" baseline="0">
                <a:gradFill>
                  <a:gsLst>
                    <a:gs pos="5833">
                      <a:schemeClr val="tx1">
                        <a:lumMod val="50000"/>
                      </a:schemeClr>
                    </a:gs>
                    <a:gs pos="100000">
                      <a:schemeClr val="tx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4115538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_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1" tIns="143362" rIns="179201" bIns="143362" numCol="1" spcCol="0" rtlCol="0" fromWordArt="0" anchor="t" anchorCtr="0" forceAA="0" compatLnSpc="1">
            <a:prstTxWarp prst="textNoShape">
              <a:avLst/>
            </a:prstTxWarp>
            <a:noAutofit/>
          </a:bodyPr>
          <a:lstStyle/>
          <a:p>
            <a:pPr algn="ctr" defTabSz="913673">
              <a:lnSpc>
                <a:spcPct val="90000"/>
              </a:lnSpc>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399" bIns="91399" anchor="t" anchorCtr="0"/>
          <a:lstStyle>
            <a:lvl1pPr>
              <a:defRPr sz="7058" spc="-99" baseline="0">
                <a:gradFill>
                  <a:gsLst>
                    <a:gs pos="5833">
                      <a:schemeClr val="bg1"/>
                    </a:gs>
                    <a:gs pos="100000">
                      <a:schemeClr val="bg1"/>
                    </a:gs>
                  </a:gsLst>
                  <a:lin ang="5400000" scaled="0"/>
                </a:gradFill>
              </a:defRPr>
            </a:lvl1pPr>
          </a:lstStyle>
          <a:p>
            <a:r>
              <a:rPr lang="en-US" dirty="0"/>
              <a:t>Video title</a:t>
            </a:r>
          </a:p>
        </p:txBody>
      </p:sp>
    </p:spTree>
    <p:extLst>
      <p:ext uri="{BB962C8B-B14F-4D97-AF65-F5344CB8AC3E}">
        <p14:creationId xmlns:p14="http://schemas.microsoft.com/office/powerpoint/2010/main" val="34437661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1" tIns="143362" rIns="179201" bIns="143362" numCol="1" spcCol="0" rtlCol="0" fromWordArt="0" anchor="t" anchorCtr="0" forceAA="0" compatLnSpc="1">
            <a:prstTxWarp prst="textNoShape">
              <a:avLst/>
            </a:prstTxWarp>
            <a:noAutofit/>
          </a:bodyPr>
          <a:lstStyle/>
          <a:p>
            <a:pPr algn="ctr" defTabSz="913673">
              <a:lnSpc>
                <a:spcPct val="90000"/>
              </a:lnSpc>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399" bIns="91399" anchor="t" anchorCtr="0"/>
          <a:lstStyle>
            <a:lvl1pPr>
              <a:defRPr sz="7058" spc="-99" baseline="0">
                <a:gradFill>
                  <a:gsLst>
                    <a:gs pos="5833">
                      <a:schemeClr val="bg1">
                        <a:lumMod val="50000"/>
                      </a:schemeClr>
                    </a:gs>
                    <a:gs pos="100000">
                      <a:schemeClr val="bg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28500796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3745965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1" tIns="143362" rIns="179201" bIns="143362" numCol="1" spcCol="0" rtlCol="0" fromWordArt="0" anchor="t" anchorCtr="0" forceAA="0" compatLnSpc="1">
            <a:prstTxWarp prst="textNoShape">
              <a:avLst/>
            </a:prstTxWarp>
            <a:noAutofit/>
          </a:bodyPr>
          <a:lstStyle/>
          <a:p>
            <a:pPr algn="ctr" defTabSz="913673">
              <a:lnSpc>
                <a:spcPct val="90000"/>
              </a:lnSpc>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399" bIns="91399" anchor="t" anchorCtr="0"/>
          <a:lstStyle>
            <a:lvl1pPr>
              <a:defRPr sz="7058" spc="-99" baseline="0">
                <a:gradFill>
                  <a:gsLst>
                    <a:gs pos="5833">
                      <a:schemeClr val="bg1">
                        <a:lumMod val="50000"/>
                      </a:schemeClr>
                    </a:gs>
                    <a:gs pos="100000">
                      <a:schemeClr val="bg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21895010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_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1" tIns="143362" rIns="179201" bIns="143362" numCol="1" spcCol="0" rtlCol="0" fromWordArt="0" anchor="t" anchorCtr="0" forceAA="0" compatLnSpc="1">
            <a:prstTxWarp prst="textNoShape">
              <a:avLst/>
            </a:prstTxWarp>
            <a:noAutofit/>
          </a:bodyPr>
          <a:lstStyle/>
          <a:p>
            <a:pPr algn="ctr" defTabSz="913673">
              <a:lnSpc>
                <a:spcPct val="90000"/>
              </a:lnSpc>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399" bIns="91399" anchor="t" anchorCtr="0"/>
          <a:lstStyle>
            <a:lvl1pPr>
              <a:defRPr sz="7058" spc="-99" baseline="0">
                <a:gradFill>
                  <a:gsLst>
                    <a:gs pos="5833">
                      <a:schemeClr val="bg1">
                        <a:lumMod val="50000"/>
                      </a:schemeClr>
                    </a:gs>
                    <a:gs pos="100000">
                      <a:schemeClr val="bg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37922203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_Video slide 2">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1" tIns="143362" rIns="179201" bIns="143362" numCol="1" spcCol="0" rtlCol="0" fromWordArt="0" anchor="t" anchorCtr="0" forceAA="0" compatLnSpc="1">
            <a:prstTxWarp prst="textNoShape">
              <a:avLst/>
            </a:prstTxWarp>
            <a:noAutofit/>
          </a:bodyPr>
          <a:lstStyle/>
          <a:p>
            <a:pPr algn="ctr" defTabSz="913673">
              <a:lnSpc>
                <a:spcPct val="90000"/>
              </a:lnSpc>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399" bIns="91399" anchor="t" anchorCtr="0"/>
          <a:lstStyle>
            <a:lvl1pPr>
              <a:defRPr sz="7058" spc="-99" baseline="0">
                <a:gradFill>
                  <a:gsLst>
                    <a:gs pos="5833">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0614090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7"/>
            <a:ext cx="11653523" cy="1796217"/>
          </a:xfrm>
          <a:noFill/>
        </p:spPr>
        <p:txBody>
          <a:bodyPr tIns="91399" bIns="91399" anchor="t" anchorCtr="0"/>
          <a:lstStyle>
            <a:lvl1pPr>
              <a:defRPr sz="8529"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732322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7"/>
            <a:ext cx="11653523" cy="1796217"/>
          </a:xfrm>
          <a:noFill/>
        </p:spPr>
        <p:txBody>
          <a:bodyPr tIns="91399" bIns="91399" anchor="t" anchorCtr="0"/>
          <a:lstStyle>
            <a:lvl1pPr>
              <a:defRPr sz="8529" spc="-99" baseline="0">
                <a:gradFill>
                  <a:gsLst>
                    <a:gs pos="100000">
                      <a:schemeClr val="bg1">
                        <a:lumMod val="50000"/>
                      </a:schemeClr>
                    </a:gs>
                    <a:gs pos="0">
                      <a:schemeClr val="bg1">
                        <a:lumMod val="50000"/>
                      </a:schemeClr>
                    </a:gs>
                  </a:gsLst>
                  <a:lin ang="5400000" scaled="0"/>
                </a:gradFill>
              </a:defRPr>
            </a:lvl1pPr>
          </a:lstStyle>
          <a:p>
            <a:r>
              <a:rPr lang="en-US" dirty="0"/>
              <a:t>Section title</a:t>
            </a:r>
          </a:p>
        </p:txBody>
      </p:sp>
    </p:spTree>
    <p:extLst>
      <p:ext uri="{BB962C8B-B14F-4D97-AF65-F5344CB8AC3E}">
        <p14:creationId xmlns:p14="http://schemas.microsoft.com/office/powerpoint/2010/main" val="18956419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7"/>
            <a:ext cx="11653523" cy="1796217"/>
          </a:xfrm>
          <a:noFill/>
        </p:spPr>
        <p:txBody>
          <a:bodyPr tIns="91399" bIns="91399" anchor="t" anchorCtr="0"/>
          <a:lstStyle>
            <a:lvl1pPr>
              <a:defRPr sz="8529" spc="-99" baseline="0">
                <a:gradFill>
                  <a:gsLst>
                    <a:gs pos="100000">
                      <a:schemeClr val="bg1">
                        <a:lumMod val="50000"/>
                      </a:schemeClr>
                    </a:gs>
                    <a:gs pos="0">
                      <a:schemeClr val="bg1">
                        <a:lumMod val="50000"/>
                      </a:schemeClr>
                    </a:gs>
                  </a:gsLst>
                  <a:lin ang="5400000" scaled="0"/>
                </a:gradFill>
              </a:defRPr>
            </a:lvl1pPr>
          </a:lstStyle>
          <a:p>
            <a:r>
              <a:rPr lang="en-US" dirty="0"/>
              <a:t>Section title</a:t>
            </a:r>
          </a:p>
        </p:txBody>
      </p:sp>
    </p:spTree>
    <p:extLst>
      <p:ext uri="{BB962C8B-B14F-4D97-AF65-F5344CB8AC3E}">
        <p14:creationId xmlns:p14="http://schemas.microsoft.com/office/powerpoint/2010/main" val="39715930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7"/>
            <a:ext cx="11653523" cy="1796217"/>
          </a:xfrm>
          <a:noFill/>
        </p:spPr>
        <p:txBody>
          <a:bodyPr tIns="91399" bIns="91399" anchor="t" anchorCtr="0"/>
          <a:lstStyle>
            <a:lvl1pPr>
              <a:defRPr sz="8529" spc="-99" baseline="0">
                <a:gradFill>
                  <a:gsLst>
                    <a:gs pos="100000">
                      <a:schemeClr val="bg1">
                        <a:lumMod val="50000"/>
                      </a:schemeClr>
                    </a:gs>
                    <a:gs pos="0">
                      <a:schemeClr val="bg1">
                        <a:lumMod val="50000"/>
                      </a:schemeClr>
                    </a:gs>
                  </a:gsLst>
                  <a:lin ang="5400000" scaled="0"/>
                </a:gradFill>
              </a:defRPr>
            </a:lvl1pPr>
          </a:lstStyle>
          <a:p>
            <a:r>
              <a:rPr lang="en-US" dirty="0"/>
              <a:t>Section title</a:t>
            </a:r>
          </a:p>
        </p:txBody>
      </p:sp>
    </p:spTree>
    <p:extLst>
      <p:ext uri="{BB962C8B-B14F-4D97-AF65-F5344CB8AC3E}">
        <p14:creationId xmlns:p14="http://schemas.microsoft.com/office/powerpoint/2010/main" val="15520702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196"/>
            </a:lvl1pPr>
          </a:lstStyle>
          <a:p>
            <a:r>
              <a:rPr lang="en-US" dirty="0"/>
              <a:t>Click to edit Master title style</a:t>
            </a:r>
          </a:p>
        </p:txBody>
      </p:sp>
      <p:sp>
        <p:nvSpPr>
          <p:cNvPr id="6" name="Text Placeholder 5"/>
          <p:cNvSpPr>
            <a:spLocks noGrp="1"/>
          </p:cNvSpPr>
          <p:nvPr>
            <p:ph type="body" sz="quarter" idx="10"/>
          </p:nvPr>
        </p:nvSpPr>
        <p:spPr>
          <a:xfrm>
            <a:off x="269239" y="1189178"/>
            <a:ext cx="11653523" cy="1938786"/>
          </a:xfrm>
        </p:spPr>
        <p:txBody>
          <a:bodyPr/>
          <a:lstStyle>
            <a:lvl1pPr marL="0" indent="0">
              <a:buNone/>
              <a:defRPr>
                <a:gradFill>
                  <a:gsLst>
                    <a:gs pos="1250">
                      <a:schemeClr val="tx1"/>
                    </a:gs>
                    <a:gs pos="99000">
                      <a:schemeClr val="tx1"/>
                    </a:gs>
                  </a:gsLst>
                  <a:lin ang="5400000" scaled="0"/>
                </a:gradFill>
              </a:defRPr>
            </a:lvl1pPr>
            <a:lvl2pPr marL="0" indent="0">
              <a:buFontTx/>
              <a:buNone/>
              <a:defRPr sz="1863"/>
            </a:lvl2pPr>
            <a:lvl3pPr marL="223992" indent="0">
              <a:buNone/>
              <a:defRPr/>
            </a:lvl3pPr>
            <a:lvl4pPr marL="447982" indent="0">
              <a:buNone/>
              <a:defRPr/>
            </a:lvl4pPr>
            <a:lvl5pPr marL="67197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13067135"/>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11653523" cy="2021772"/>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5196"/>
            </a:lvl1pPr>
          </a:lstStyle>
          <a:p>
            <a:r>
              <a:rPr lang="en-US" dirty="0"/>
              <a:t>Click to edit Master title style</a:t>
            </a:r>
          </a:p>
        </p:txBody>
      </p:sp>
    </p:spTree>
    <p:extLst>
      <p:ext uri="{BB962C8B-B14F-4D97-AF65-F5344CB8AC3E}">
        <p14:creationId xmlns:p14="http://schemas.microsoft.com/office/powerpoint/2010/main" val="3572463578"/>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196"/>
            </a:lvl1pPr>
          </a:lstStyle>
          <a:p>
            <a:r>
              <a:rPr lang="en-US" dirty="0"/>
              <a:t>Click to edit Master title style</a:t>
            </a:r>
          </a:p>
        </p:txBody>
      </p:sp>
      <p:sp>
        <p:nvSpPr>
          <p:cNvPr id="4" name="Text Placeholder 3"/>
          <p:cNvSpPr>
            <a:spLocks noGrp="1"/>
          </p:cNvSpPr>
          <p:nvPr>
            <p:ph type="body" sz="quarter" idx="10"/>
          </p:nvPr>
        </p:nvSpPr>
        <p:spPr>
          <a:xfrm>
            <a:off x="269246" y="1189180"/>
            <a:ext cx="5378548" cy="2359753"/>
          </a:xfrm>
        </p:spPr>
        <p:txBody>
          <a:bodyPr wrap="square">
            <a:spAutoFit/>
          </a:bodyPr>
          <a:lstStyle>
            <a:lvl1pPr marL="0" indent="0">
              <a:spcBef>
                <a:spcPts val="1200"/>
              </a:spcBef>
              <a:buClr>
                <a:schemeClr val="tx1"/>
              </a:buClr>
              <a:buFont typeface="Wingdings" pitchFamily="2" charset="2"/>
              <a:buNone/>
              <a:defRPr sz="3431"/>
            </a:lvl1pPr>
            <a:lvl2pPr marL="0" indent="0">
              <a:buNone/>
              <a:defRPr sz="1863"/>
            </a:lvl2pPr>
            <a:lvl3pPr marL="227102" indent="0">
              <a:buNone/>
              <a:tabLst/>
              <a:defRPr sz="1863"/>
            </a:lvl3pPr>
            <a:lvl4pPr marL="451095" indent="0">
              <a:buNone/>
              <a:defRPr/>
            </a:lvl4pPr>
            <a:lvl5pPr marL="671974"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20" y="1189180"/>
            <a:ext cx="5378548" cy="2359753"/>
          </a:xfrm>
        </p:spPr>
        <p:txBody>
          <a:bodyPr wrap="square">
            <a:spAutoFit/>
          </a:bodyPr>
          <a:lstStyle>
            <a:lvl1pPr marL="0" indent="0">
              <a:spcBef>
                <a:spcPts val="1200"/>
              </a:spcBef>
              <a:buClr>
                <a:schemeClr val="tx1"/>
              </a:buClr>
              <a:buFont typeface="Wingdings" pitchFamily="2" charset="2"/>
              <a:buNone/>
              <a:defRPr sz="3431"/>
            </a:lvl1pPr>
            <a:lvl2pPr marL="0" indent="0">
              <a:buNone/>
              <a:defRPr sz="1863"/>
            </a:lvl2pPr>
            <a:lvl3pPr marL="227102" indent="0">
              <a:buNone/>
              <a:tabLst/>
              <a:defRPr sz="1863"/>
            </a:lvl3pPr>
            <a:lvl4pPr marL="451095" indent="0">
              <a:buNone/>
              <a:defRPr/>
            </a:lvl4pPr>
            <a:lvl5pPr marL="671974"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2477805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693182338"/>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196"/>
            </a:lvl1pPr>
          </a:lstStyle>
          <a:p>
            <a:r>
              <a:rPr lang="en-US" dirty="0"/>
              <a:t>Click to edit Master title style</a:t>
            </a:r>
          </a:p>
        </p:txBody>
      </p:sp>
      <p:sp>
        <p:nvSpPr>
          <p:cNvPr id="4" name="Text Placeholder 3"/>
          <p:cNvSpPr>
            <a:spLocks noGrp="1"/>
          </p:cNvSpPr>
          <p:nvPr>
            <p:ph type="body" sz="quarter" idx="10"/>
          </p:nvPr>
        </p:nvSpPr>
        <p:spPr>
          <a:xfrm>
            <a:off x="269246" y="1189179"/>
            <a:ext cx="5378548" cy="2442739"/>
          </a:xfrm>
        </p:spPr>
        <p:txBody>
          <a:bodyPr wrap="square">
            <a:spAutoFit/>
          </a:bodyPr>
          <a:lstStyle>
            <a:lvl1pPr marL="281546" indent="-281546">
              <a:spcBef>
                <a:spcPts val="1200"/>
              </a:spcBef>
              <a:buClr>
                <a:schemeClr val="tx1"/>
              </a:buClr>
              <a:buFont typeface="Arial" pitchFamily="34" charset="0"/>
              <a:buChar char="•"/>
              <a:defRPr sz="3431"/>
            </a:lvl1pPr>
            <a:lvl2pPr marL="520457" indent="-228494">
              <a:defRPr sz="2353"/>
            </a:lvl2pPr>
            <a:lvl3pPr marL="685483" indent="-165026">
              <a:tabLst/>
              <a:defRPr sz="1863"/>
            </a:lvl3pPr>
            <a:lvl4pPr marL="863198" indent="-177718">
              <a:defRPr/>
            </a:lvl4pPr>
            <a:lvl5pPr marL="1028221" indent="-16502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20" y="1189179"/>
            <a:ext cx="5378548" cy="2442739"/>
          </a:xfrm>
        </p:spPr>
        <p:txBody>
          <a:bodyPr wrap="square">
            <a:spAutoFit/>
          </a:bodyPr>
          <a:lstStyle>
            <a:lvl1pPr marL="281546" indent="-281546">
              <a:spcBef>
                <a:spcPts val="1200"/>
              </a:spcBef>
              <a:buClr>
                <a:schemeClr val="tx1"/>
              </a:buClr>
              <a:buFont typeface="Arial" pitchFamily="34" charset="0"/>
              <a:buChar char="•"/>
              <a:defRPr sz="3431"/>
            </a:lvl1pPr>
            <a:lvl2pPr marL="520457" indent="-228494">
              <a:defRPr sz="2353"/>
            </a:lvl2pPr>
            <a:lvl3pPr marL="685483" indent="-165026">
              <a:tabLst/>
              <a:defRPr sz="1863"/>
            </a:lvl3pPr>
            <a:lvl4pPr marL="863198" indent="-177718">
              <a:defRPr/>
            </a:lvl4pPr>
            <a:lvl5pPr marL="1028221" indent="-16502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94505279"/>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196"/>
            </a:lvl1pPr>
          </a:lstStyle>
          <a:p>
            <a:r>
              <a:rPr lang="en-US"/>
              <a:t>Click to edit Master title style</a:t>
            </a:r>
          </a:p>
        </p:txBody>
      </p:sp>
    </p:spTree>
    <p:extLst>
      <p:ext uri="{BB962C8B-B14F-4D97-AF65-F5344CB8AC3E}">
        <p14:creationId xmlns:p14="http://schemas.microsoft.com/office/powerpoint/2010/main" val="2634006950"/>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5111620"/>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47344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09828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0639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Blank Accent Color 3">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730353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81"/>
            <a:ext cx="11653523" cy="2398983"/>
          </a:xfrm>
          <a:prstGeom prst="rect">
            <a:avLst/>
          </a:prstGeom>
        </p:spPr>
        <p:txBody>
          <a:bodyPr/>
          <a:lstStyle>
            <a:lvl1pPr marL="284658" indent="-284658">
              <a:buClr>
                <a:schemeClr val="tx1"/>
              </a:buClr>
              <a:buSzPct val="90000"/>
              <a:buFont typeface="Arial" pitchFamily="34" charset="0"/>
              <a:buChar char="•"/>
              <a:defRPr sz="3431">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980" indent="-275324">
              <a:buClr>
                <a:schemeClr val="tx1"/>
              </a:buClr>
              <a:buSzPct val="90000"/>
              <a:buFont typeface="Arial" pitchFamily="34" charset="0"/>
              <a:buChar char="•"/>
              <a:defRPr sz="32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637" indent="-284658">
              <a:buClr>
                <a:schemeClr val="tx1"/>
              </a:buClr>
              <a:buSzPct val="90000"/>
              <a:buFont typeface="Arial" pitchFamily="34" charset="0"/>
              <a:buChar char="•"/>
              <a:defRPr sz="2843">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628" indent="-223992">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618" indent="-223992">
              <a:buClr>
                <a:schemeClr val="tx1"/>
              </a:buClr>
              <a:buSzPct val="90000"/>
              <a:buFont typeface="Arial" pitchFamily="34" charset="0"/>
              <a:buChar char="•"/>
              <a:defRPr sz="1863">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9"/>
            <a:ext cx="12192001" cy="619126"/>
          </a:xfrm>
          <a:prstGeom prst="rect">
            <a:avLst/>
          </a:prstGeom>
          <a:solidFill>
            <a:srgbClr val="FFFF99"/>
          </a:solidFill>
        </p:spPr>
        <p:txBody>
          <a:bodyPr wrap="square" lIns="155385" tIns="77692" rIns="155385" bIns="77692" anchor="b" anchorCtr="0">
            <a:noAutofit/>
          </a:bodyPr>
          <a:lstStyle>
            <a:lvl1pPr algn="r">
              <a:buFont typeface="Arial" pitchFamily="34" charset="0"/>
              <a:buNone/>
              <a:defRPr sz="3529"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340471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3240" name="think-cell Slide" r:id="rId4" imgW="360" imgH="360" progId="">
                  <p:embed/>
                </p:oleObj>
              </mc:Choice>
              <mc:Fallback>
                <p:oleObj name="think-cell Slide" r:id="rId4" imgW="360" imgH="360" progId="">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8"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pic>
        <p:nvPicPr>
          <p:cNvPr id="3" name="Picture 2" descr="WinAzure_rgb_Wht_S.png"/>
          <p:cNvPicPr>
            <a:picLocks noChangeAspect="1"/>
          </p:cNvPicPr>
          <p:nvPr userDrawn="1"/>
        </p:nvPicPr>
        <p:blipFill>
          <a:blip r:embed="rId6" cstate="email">
            <a:duotone>
              <a:prstClr val="black"/>
              <a:schemeClr val="accent6">
                <a:tint val="45000"/>
                <a:satMod val="400000"/>
              </a:schemeClr>
            </a:duotone>
            <a:extLst>
              <a:ext uri="{28A0092B-C50C-407E-A947-70E740481C1C}">
                <a14:useLocalDpi xmlns:a14="http://schemas.microsoft.com/office/drawing/2010/main"/>
              </a:ext>
            </a:extLst>
          </a:blip>
          <a:stretch>
            <a:fillRect/>
          </a:stretch>
        </p:blipFill>
        <p:spPr>
          <a:xfrm>
            <a:off x="358903" y="6297934"/>
            <a:ext cx="1703188" cy="408657"/>
          </a:xfrm>
          <a:prstGeom prst="rect">
            <a:avLst/>
          </a:prstGeom>
        </p:spPr>
      </p:pic>
      <p:sp>
        <p:nvSpPr>
          <p:cNvPr id="7" name="Slide Number Placeholder 6"/>
          <p:cNvSpPr>
            <a:spLocks noGrp="1"/>
          </p:cNvSpPr>
          <p:nvPr>
            <p:ph type="sldNum" sz="quarter" idx="4"/>
          </p:nvPr>
        </p:nvSpPr>
        <p:spPr>
          <a:xfrm>
            <a:off x="8737029" y="6356803"/>
            <a:ext cx="2844904" cy="364224"/>
          </a:xfrm>
          <a:prstGeom prst="rect">
            <a:avLst/>
          </a:prstGeom>
        </p:spPr>
        <p:txBody>
          <a:bodyPr vert="horz" lIns="91422" tIns="45710" rIns="91422" bIns="45710" rtlCol="0" anchor="ctr"/>
          <a:lstStyle>
            <a:lvl1pPr algn="r">
              <a:defRPr sz="980">
                <a:solidFill>
                  <a:schemeClr val="tx1">
                    <a:tint val="75000"/>
                  </a:schemeClr>
                </a:solidFill>
              </a:defRPr>
            </a:lvl1pPr>
          </a:lstStyle>
          <a:p>
            <a:pPr defTabSz="913939"/>
            <a:fld id="{FFB82908-4842-4340-9D73-01C813DDC308}" type="slidenum">
              <a:rPr lang="en-US" smtClean="0">
                <a:solidFill>
                  <a:srgbClr val="505050">
                    <a:tint val="75000"/>
                  </a:srgbClr>
                </a:solidFill>
              </a:rPr>
              <a:pPr defTabSz="913939"/>
              <a:t>‹#›</a:t>
            </a:fld>
            <a:endParaRPr lang="en-US" dirty="0">
              <a:solidFill>
                <a:srgbClr val="505050">
                  <a:tint val="75000"/>
                </a:srgbClr>
              </a:solidFill>
            </a:endParaRPr>
          </a:p>
        </p:txBody>
      </p:sp>
    </p:spTree>
    <p:extLst>
      <p:ext uri="{BB962C8B-B14F-4D97-AF65-F5344CB8AC3E}">
        <p14:creationId xmlns:p14="http://schemas.microsoft.com/office/powerpoint/2010/main" val="1914305854"/>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6" name="MS logo white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2" y="6111775"/>
            <a:ext cx="1423303" cy="304828"/>
          </a:xfrm>
          <a:prstGeom prst="rect">
            <a:avLst/>
          </a:prstGeom>
        </p:spPr>
      </p:pic>
    </p:spTree>
    <p:extLst>
      <p:ext uri="{BB962C8B-B14F-4D97-AF65-F5344CB8AC3E}">
        <p14:creationId xmlns:p14="http://schemas.microsoft.com/office/powerpoint/2010/main" val="39259455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92783" y="1725533"/>
            <a:ext cx="3406434" cy="3406937"/>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854938"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1" tIns="143408" rIns="179261" bIns="143408"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799217"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1" tIns="143408" rIns="179261" bIns="143408"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854938"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1" tIns="143408" rIns="179261" bIns="143408"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799217"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1" tIns="143408" rIns="179261" bIns="143408"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222047475"/>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3"/>
            <a:ext cx="6274911" cy="1793104"/>
          </a:xfrm>
          <a:noFill/>
        </p:spPr>
        <p:txBody>
          <a:bodyPr lIns="146304" tIns="91440" rIns="146304" bIns="91440" anchor="t" anchorCtr="0"/>
          <a:lstStyle>
            <a:lvl1pPr>
              <a:defRPr sz="4705" spc="-98" baseline="0">
                <a:solidFill>
                  <a:schemeClr val="tx1"/>
                </a:soli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6"/>
            <a:ext cx="6276530" cy="651821"/>
          </a:xfrm>
        </p:spPr>
        <p:txBody>
          <a:bodyPr wrap="square" lIns="164592" tIns="109728" rIns="164592" bIns="109728">
            <a:spAutoFit/>
          </a:bodyPr>
          <a:lstStyle>
            <a:lvl1pPr marL="0" indent="0">
              <a:spcBef>
                <a:spcPts val="0"/>
              </a:spcBef>
              <a:buNone/>
              <a:defRPr sz="3137">
                <a:solidFill>
                  <a:schemeClr val="tx1"/>
                </a:solidFill>
                <a:latin typeface="+mn-lt"/>
              </a:defRPr>
            </a:lvl1pPr>
          </a:lstStyle>
          <a:p>
            <a:pPr lvl="0"/>
            <a:r>
              <a:rPr lang="en-US" dirty="0"/>
              <a:t>Speaker name</a:t>
            </a:r>
          </a:p>
        </p:txBody>
      </p:sp>
      <p:pic>
        <p:nvPicPr>
          <p:cNvPr id="17" name="MS logo gray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2" y="6111775"/>
            <a:ext cx="1423303" cy="304828"/>
          </a:xfrm>
          <a:prstGeom prst="rect">
            <a:avLst/>
          </a:prstGeom>
        </p:spPr>
      </p:pic>
    </p:spTree>
    <p:extLst>
      <p:ext uri="{BB962C8B-B14F-4D97-AF65-F5344CB8AC3E}">
        <p14:creationId xmlns:p14="http://schemas.microsoft.com/office/powerpoint/2010/main" val="4144829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with photo and tile">
    <p:spTree>
      <p:nvGrpSpPr>
        <p:cNvPr id="1" name=""/>
        <p:cNvGrpSpPr/>
        <p:nvPr/>
      </p:nvGrpSpPr>
      <p:grpSpPr>
        <a:xfrm>
          <a:off x="0" y="0"/>
          <a:ext cx="0" cy="0"/>
          <a:chOff x="0" y="0"/>
          <a:chExt cx="0" cy="0"/>
        </a:xfrm>
      </p:grpSpPr>
      <p:pic>
        <p:nvPicPr>
          <p:cNvPr id="8" name="MS logo white - EMF"/>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451632" y="6111775"/>
            <a:ext cx="1423303" cy="304828"/>
          </a:xfrm>
          <a:prstGeom prst="rect">
            <a:avLst/>
          </a:prstGeom>
        </p:spPr>
      </p:pic>
      <p:sp>
        <p:nvSpPr>
          <p:cNvPr id="9" name="Title 1"/>
          <p:cNvSpPr>
            <a:spLocks noGrp="1"/>
          </p:cNvSpPr>
          <p:nvPr>
            <p:ph type="title" hasCustomPrompt="1"/>
          </p:nvPr>
        </p:nvSpPr>
        <p:spPr bwMode="auto">
          <a:xfrm>
            <a:off x="269302" y="2648455"/>
            <a:ext cx="6274911" cy="1793104"/>
          </a:xfrm>
          <a:noFill/>
        </p:spPr>
        <p:txBody>
          <a:bodyPr lIns="146304" tIns="91440" rIns="146304" bIns="91440" anchor="t" anchorCtr="0"/>
          <a:lstStyle>
            <a:lvl1pPr>
              <a:defRPr sz="4705" spc="-98" baseline="0">
                <a:solidFill>
                  <a:schemeClr val="tx1"/>
                </a:soli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4773828"/>
            <a:ext cx="6276530" cy="543185"/>
          </a:xfrm>
        </p:spPr>
        <p:txBody>
          <a:bodyPr wrap="square" lIns="164592" tIns="109728" rIns="164592" bIns="109728">
            <a:spAutoFit/>
          </a:bodyPr>
          <a:lstStyle>
            <a:lvl1pPr marL="0" indent="0">
              <a:spcBef>
                <a:spcPts val="0"/>
              </a:spcBef>
              <a:buNone/>
              <a:defRPr sz="2353">
                <a:solidFill>
                  <a:schemeClr val="tx1"/>
                </a:solidFill>
                <a:latin typeface="+mn-lt"/>
              </a:defRPr>
            </a:lvl1pPr>
          </a:lstStyle>
          <a:p>
            <a:pPr lvl="0"/>
            <a:r>
              <a:rPr lang="en-US" dirty="0"/>
              <a:t>Speaker name</a:t>
            </a:r>
          </a:p>
        </p:txBody>
      </p:sp>
    </p:spTree>
    <p:extLst>
      <p:ext uri="{BB962C8B-B14F-4D97-AF65-F5344CB8AC3E}">
        <p14:creationId xmlns:p14="http://schemas.microsoft.com/office/powerpoint/2010/main" val="1333896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2" y="6111775"/>
            <a:ext cx="1423303" cy="304828"/>
          </a:xfrm>
          <a:prstGeom prst="rect">
            <a:avLst/>
          </a:prstGeom>
        </p:spPr>
      </p:pic>
    </p:spTree>
    <p:extLst>
      <p:ext uri="{BB962C8B-B14F-4D97-AF65-F5344CB8AC3E}">
        <p14:creationId xmlns:p14="http://schemas.microsoft.com/office/powerpoint/2010/main" val="41154122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8" name="MS logo white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2" y="6111775"/>
            <a:ext cx="1423303" cy="304828"/>
          </a:xfrm>
          <a:prstGeom prst="rect">
            <a:avLst/>
          </a:prstGeom>
        </p:spPr>
      </p:pic>
      <p:pic>
        <p:nvPicPr>
          <p:cNvPr id="6" name="Picture 5"/>
          <p:cNvPicPr>
            <a:picLocks noChangeAspect="1"/>
          </p:cNvPicPr>
          <p:nvPr/>
        </p:nvPicPr>
        <p:blipFill rotWithShape="1">
          <a:blip r:embed="rId3">
            <a:extLst>
              <a:ext uri="{28A0092B-C50C-407E-A947-70E740481C1C}">
                <a14:useLocalDpi xmlns:a14="http://schemas.microsoft.com/office/drawing/2010/main"/>
              </a:ext>
            </a:extLst>
          </a:blip>
          <a:srcRect/>
          <a:stretch/>
        </p:blipFill>
        <p:spPr>
          <a:xfrm>
            <a:off x="5333418" y="-2839"/>
            <a:ext cx="6856854" cy="6858000"/>
          </a:xfrm>
          <a:prstGeom prst="rect">
            <a:avLst/>
          </a:prstGeom>
        </p:spPr>
      </p:pic>
    </p:spTree>
    <p:extLst>
      <p:ext uri="{BB962C8B-B14F-4D97-AF65-F5344CB8AC3E}">
        <p14:creationId xmlns:p14="http://schemas.microsoft.com/office/powerpoint/2010/main" val="14848135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160563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36233346"/>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471913522"/>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1333554261"/>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4100852798"/>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91069"/>
            <a:ext cx="4795873" cy="1484704"/>
          </a:xfrm>
        </p:spPr>
        <p:txBody>
          <a:bodyPr wrap="square" anchor="t">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7" name="Picture Placeholder 4"/>
          <p:cNvSpPr>
            <a:spLocks noGrp="1" noChangeAspect="1"/>
          </p:cNvSpPr>
          <p:nvPr>
            <p:ph type="pic" sz="quarter" idx="10"/>
          </p:nvPr>
        </p:nvSpPr>
        <p:spPr bwMode="ltGray">
          <a:xfrm>
            <a:off x="5334350" y="0"/>
            <a:ext cx="6857650" cy="6856100"/>
          </a:xfrm>
          <a:prstGeom prst="rect">
            <a:avLst/>
          </a:prstGeom>
          <a:blipFill>
            <a:blip r:embed="rId2">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4121669617"/>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340297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3849" y="4056270"/>
            <a:ext cx="2689274" cy="2510690"/>
          </a:xfrm>
          <a:prstGeom prst="rect">
            <a:avLst/>
          </a:prstGeom>
          <a:solidFill>
            <a:schemeClr val="accent1"/>
          </a:solidFill>
        </p:spPr>
        <p:txBody>
          <a:bodyPr lIns="179261" tIns="143408" rIns="179261" bIns="143408">
            <a:noAutofit/>
          </a:bodyPr>
          <a:lstStyle>
            <a:lvl1pPr marL="0" indent="0">
              <a:lnSpc>
                <a:spcPct val="90000"/>
              </a:lnSpc>
              <a:spcBef>
                <a:spcPts val="0"/>
              </a:spcBef>
              <a:spcAft>
                <a:spcPts val="588"/>
              </a:spcAft>
              <a:buFontTx/>
              <a:buNone/>
              <a:defRPr sz="1200" b="0">
                <a:gradFill>
                  <a:gsLst>
                    <a:gs pos="15929">
                      <a:schemeClr val="tx1"/>
                    </a:gs>
                    <a:gs pos="41000">
                      <a:schemeClr val="tx1"/>
                    </a:gs>
                  </a:gsLst>
                  <a:lin ang="5400000" scaled="0"/>
                </a:gradFill>
                <a:latin typeface="+mn-lt"/>
                <a:cs typeface="Segoe UI"/>
              </a:defRPr>
            </a:lvl1pPr>
            <a:lvl2pPr marL="336081" indent="0">
              <a:buFontTx/>
              <a:buNone/>
              <a:defRPr/>
            </a:lvl2pPr>
            <a:lvl3pPr marL="560135" indent="0">
              <a:buFontTx/>
              <a:buNone/>
              <a:defRPr/>
            </a:lvl3pPr>
            <a:lvl4pPr marL="784187" indent="0">
              <a:buFontTx/>
              <a:buNone/>
              <a:defRPr/>
            </a:lvl4pPr>
            <a:lvl5pPr marL="1008241"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082814" y="4056272"/>
            <a:ext cx="2688994" cy="2510662"/>
          </a:xfrm>
          <a:prstGeom prst="rect">
            <a:avLst/>
          </a:prstGeom>
          <a:solidFill>
            <a:schemeClr val="accent1"/>
          </a:solidFill>
        </p:spPr>
        <p:txBody>
          <a:bodyPr lIns="179261" tIns="143408" rIns="179261" bIns="143408">
            <a:noAutofit/>
          </a:bodyPr>
          <a:lstStyle>
            <a:lvl1pPr marL="0" indent="0">
              <a:lnSpc>
                <a:spcPts val="1412"/>
              </a:lnSpc>
              <a:spcBef>
                <a:spcPts val="0"/>
              </a:spcBef>
              <a:spcAft>
                <a:spcPts val="588"/>
              </a:spcAft>
              <a:buFontTx/>
              <a:buNone/>
              <a:defRPr sz="1200" b="0">
                <a:gradFill>
                  <a:gsLst>
                    <a:gs pos="15929">
                      <a:schemeClr val="tx1"/>
                    </a:gs>
                    <a:gs pos="41000">
                      <a:schemeClr val="tx1"/>
                    </a:gs>
                  </a:gsLst>
                  <a:lin ang="5400000" scaled="0"/>
                </a:gradFill>
                <a:latin typeface="+mn-lt"/>
                <a:cs typeface="Segoe UI"/>
              </a:defRPr>
            </a:lvl1pPr>
            <a:lvl2pPr marL="336081" indent="0">
              <a:buFontTx/>
              <a:buNone/>
              <a:defRPr/>
            </a:lvl2pPr>
            <a:lvl3pPr marL="560135" indent="0">
              <a:buFontTx/>
              <a:buNone/>
              <a:defRPr/>
            </a:lvl3pPr>
            <a:lvl4pPr marL="784187" indent="0">
              <a:buFontTx/>
              <a:buNone/>
              <a:defRPr/>
            </a:lvl4pPr>
            <a:lvl5pPr marL="1008241"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700185" y="4056272"/>
            <a:ext cx="2688994" cy="2510662"/>
          </a:xfrm>
          <a:prstGeom prst="rect">
            <a:avLst/>
          </a:prstGeom>
          <a:solidFill>
            <a:schemeClr val="accent1"/>
          </a:solidFill>
        </p:spPr>
        <p:txBody>
          <a:bodyPr lIns="179261" tIns="143408" rIns="179261" bIns="143408">
            <a:noAutofit/>
          </a:bodyPr>
          <a:lstStyle>
            <a:lvl1pPr marL="0" indent="0">
              <a:lnSpc>
                <a:spcPts val="1412"/>
              </a:lnSpc>
              <a:spcBef>
                <a:spcPts val="0"/>
              </a:spcBef>
              <a:spcAft>
                <a:spcPts val="588"/>
              </a:spcAft>
              <a:buFontTx/>
              <a:buNone/>
              <a:defRPr sz="1200" b="0">
                <a:gradFill>
                  <a:gsLst>
                    <a:gs pos="15929">
                      <a:schemeClr val="tx1"/>
                    </a:gs>
                    <a:gs pos="41000">
                      <a:schemeClr val="tx1"/>
                    </a:gs>
                  </a:gsLst>
                  <a:lin ang="5400000" scaled="0"/>
                </a:gradFill>
                <a:latin typeface="+mn-lt"/>
                <a:cs typeface="Segoe UI"/>
              </a:defRPr>
            </a:lvl1pPr>
            <a:lvl2pPr marL="336081" indent="0">
              <a:buFontTx/>
              <a:buNone/>
              <a:defRPr/>
            </a:lvl2pPr>
            <a:lvl3pPr marL="560135" indent="0">
              <a:buFontTx/>
              <a:buNone/>
              <a:defRPr/>
            </a:lvl3pPr>
            <a:lvl4pPr marL="784187" indent="0">
              <a:buFontTx/>
              <a:buNone/>
              <a:defRPr/>
            </a:lvl4pPr>
            <a:lvl5pPr marL="1008241"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5891499" y="4056272"/>
            <a:ext cx="2688994" cy="2510662"/>
          </a:xfrm>
          <a:prstGeom prst="rect">
            <a:avLst/>
          </a:prstGeom>
          <a:solidFill>
            <a:schemeClr val="accent1"/>
          </a:solidFill>
        </p:spPr>
        <p:txBody>
          <a:bodyPr lIns="179261" tIns="143408" rIns="179261" bIns="143408">
            <a:noAutofit/>
          </a:bodyPr>
          <a:lstStyle>
            <a:lvl1pPr marL="0" indent="0">
              <a:lnSpc>
                <a:spcPts val="1412"/>
              </a:lnSpc>
              <a:spcBef>
                <a:spcPts val="0"/>
              </a:spcBef>
              <a:spcAft>
                <a:spcPts val="588"/>
              </a:spcAft>
              <a:buFontTx/>
              <a:buNone/>
              <a:defRPr sz="1200" b="0">
                <a:gradFill>
                  <a:gsLst>
                    <a:gs pos="15929">
                      <a:schemeClr val="tx1"/>
                    </a:gs>
                    <a:gs pos="41000">
                      <a:schemeClr val="tx1"/>
                    </a:gs>
                  </a:gsLst>
                  <a:lin ang="5400000" scaled="0"/>
                </a:gradFill>
                <a:latin typeface="+mn-lt"/>
                <a:cs typeface="Segoe UI"/>
              </a:defRPr>
            </a:lvl1pPr>
            <a:lvl2pPr marL="336081" indent="0">
              <a:buFontTx/>
              <a:buNone/>
              <a:defRPr/>
            </a:lvl2pPr>
            <a:lvl3pPr marL="560135" indent="0">
              <a:buFontTx/>
              <a:buNone/>
              <a:defRPr/>
            </a:lvl3pPr>
            <a:lvl4pPr marL="784187" indent="0">
              <a:buFontTx/>
              <a:buNone/>
              <a:defRPr/>
            </a:lvl4pPr>
            <a:lvl5pPr marL="1008241"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3849" y="1249596"/>
            <a:ext cx="2689274" cy="2689656"/>
          </a:xfrm>
          <a:prstGeom prst="rect">
            <a:avLst/>
          </a:prstGeom>
          <a:solidFill>
            <a:schemeClr val="tx1"/>
          </a:solidFill>
        </p:spPr>
        <p:txBody>
          <a:bodyPr lIns="179261" tIns="143408" rIns="179261" bIns="143408">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36081" indent="0">
              <a:buFontTx/>
              <a:buNone/>
              <a:defRPr/>
            </a:lvl2pPr>
            <a:lvl3pPr marL="560135" indent="0">
              <a:buFontTx/>
              <a:buNone/>
              <a:defRPr/>
            </a:lvl3pPr>
            <a:lvl4pPr marL="784187" indent="0">
              <a:buFontTx/>
              <a:buNone/>
              <a:defRPr/>
            </a:lvl4pPr>
            <a:lvl5pPr marL="1008241"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082731" y="1249596"/>
            <a:ext cx="2688994" cy="2689656"/>
          </a:xfrm>
          <a:prstGeom prst="rect">
            <a:avLst/>
          </a:prstGeom>
          <a:solidFill>
            <a:schemeClr val="tx1"/>
          </a:solidFill>
        </p:spPr>
        <p:txBody>
          <a:bodyPr lIns="179261" tIns="143408" rIns="179261" bIns="143408">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36081" indent="0">
              <a:buFontTx/>
              <a:buNone/>
              <a:defRPr/>
            </a:lvl2pPr>
            <a:lvl3pPr marL="560135" indent="0">
              <a:buFontTx/>
              <a:buNone/>
              <a:defRPr/>
            </a:lvl3pPr>
            <a:lvl4pPr marL="784187" indent="0">
              <a:buFontTx/>
              <a:buNone/>
              <a:defRPr/>
            </a:lvl4pPr>
            <a:lvl5pPr marL="1008241"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5891333" y="1249596"/>
            <a:ext cx="2688994" cy="2689656"/>
          </a:xfrm>
          <a:prstGeom prst="rect">
            <a:avLst/>
          </a:prstGeom>
          <a:solidFill>
            <a:schemeClr val="tx1"/>
          </a:solidFill>
        </p:spPr>
        <p:txBody>
          <a:bodyPr lIns="179261" tIns="143408" rIns="179261" bIns="143408">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36081" indent="0">
              <a:buFontTx/>
              <a:buNone/>
              <a:defRPr/>
            </a:lvl2pPr>
            <a:lvl3pPr marL="560135" indent="0">
              <a:buFontTx/>
              <a:buNone/>
              <a:defRPr/>
            </a:lvl3pPr>
            <a:lvl4pPr marL="784187" indent="0">
              <a:buFontTx/>
              <a:buNone/>
              <a:defRPr/>
            </a:lvl4pPr>
            <a:lvl5pPr marL="1008241"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699935" y="1249596"/>
            <a:ext cx="2688994" cy="2689656"/>
          </a:xfrm>
          <a:prstGeom prst="rect">
            <a:avLst/>
          </a:prstGeom>
          <a:solidFill>
            <a:schemeClr val="tx1"/>
          </a:solidFill>
        </p:spPr>
        <p:txBody>
          <a:bodyPr lIns="179261" tIns="143408" rIns="179261" bIns="143408">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36081" indent="0">
              <a:buFontTx/>
              <a:buNone/>
              <a:defRPr/>
            </a:lvl2pPr>
            <a:lvl3pPr marL="560135" indent="0">
              <a:buFontTx/>
              <a:buNone/>
              <a:defRPr/>
            </a:lvl3pPr>
            <a:lvl4pPr marL="784187" indent="0">
              <a:buFontTx/>
              <a:buNone/>
              <a:defRPr/>
            </a:lvl4pPr>
            <a:lvl5pPr marL="1008241"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366126660"/>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0579094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6842303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45299045"/>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10784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24648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724610"/>
          </a:xfrm>
        </p:spPr>
        <p:txBody>
          <a:bodyPr/>
          <a:lstStyle>
            <a:lvl1pPr marL="0" indent="0">
              <a:buNone/>
              <a:defRPr sz="3235">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1pPr>
            <a:lvl2pPr marL="339726" indent="0">
              <a:buNone/>
              <a:defRPr>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2pPr>
            <a:lvl3pPr marL="573090" indent="0">
              <a:buNone/>
              <a:defRPr>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3pPr>
            <a:lvl4pPr marL="798516" indent="0">
              <a:buNone/>
              <a:defRPr>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4pPr>
            <a:lvl5pPr marL="1030292" indent="0">
              <a:buNone/>
              <a:defRPr>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33103897"/>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Closing logo slide 1">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5001230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Closing logo slide 2">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2" y="3302732"/>
            <a:ext cx="1423303" cy="304828"/>
          </a:xfrm>
          <a:prstGeom prst="rect">
            <a:avLst/>
          </a:prstGeom>
        </p:spPr>
      </p:pic>
    </p:spTree>
    <p:extLst>
      <p:ext uri="{BB962C8B-B14F-4D97-AF65-F5344CB8AC3E}">
        <p14:creationId xmlns:p14="http://schemas.microsoft.com/office/powerpoint/2010/main" val="6862327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1922270"/>
          </a:xfrm>
          <a:prstGeom prst="rect">
            <a:avLst/>
          </a:prstGeom>
        </p:spPr>
        <p:txBody>
          <a:bodyPr/>
          <a:lstStyle>
            <a:lvl1pPr marL="0" indent="0">
              <a:buClr>
                <a:schemeClr val="tx1"/>
              </a:buClr>
              <a:buSzPct val="90000"/>
              <a:buFont typeface="Arial" pitchFamily="34" charset="0"/>
              <a:buNone/>
              <a:defRPr sz="2745" b="0" i="0">
                <a:gradFill>
                  <a:gsLst>
                    <a:gs pos="1250">
                      <a:schemeClr val="tx1"/>
                    </a:gs>
                    <a:gs pos="100000">
                      <a:schemeClr val="tx1"/>
                    </a:gs>
                  </a:gsLst>
                  <a:lin ang="5400000" scaled="0"/>
                </a:gradFill>
                <a:latin typeface="+mn-lt"/>
                <a:ea typeface="Segoe UI" pitchFamily="34" charset="0"/>
                <a:cs typeface="Segoe UI" pitchFamily="34" charset="0"/>
              </a:defRPr>
            </a:lvl1pPr>
            <a:lvl2pPr marL="284789" indent="0">
              <a:buClr>
                <a:schemeClr val="tx1"/>
              </a:buClr>
              <a:buSzPct val="90000"/>
              <a:buFont typeface="Arial" pitchFamily="34" charset="0"/>
              <a:buNone/>
              <a:defRPr sz="2353" b="0" i="0">
                <a:gradFill>
                  <a:gsLst>
                    <a:gs pos="1250">
                      <a:schemeClr val="tx1"/>
                    </a:gs>
                    <a:gs pos="100000">
                      <a:schemeClr val="tx1"/>
                    </a:gs>
                  </a:gsLst>
                  <a:lin ang="5400000" scaled="0"/>
                </a:gradFill>
                <a:latin typeface="+mn-lt"/>
                <a:ea typeface="Segoe UI" pitchFamily="34" charset="0"/>
                <a:cs typeface="Segoe UI" pitchFamily="34" charset="0"/>
              </a:defRPr>
            </a:lvl2pPr>
            <a:lvl3pPr marL="560241" indent="0">
              <a:buClr>
                <a:schemeClr val="tx1"/>
              </a:buClr>
              <a:buSzPct val="90000"/>
              <a:buFont typeface="Arial" pitchFamily="34" charset="0"/>
              <a:buNone/>
              <a:defRPr sz="1961" b="0" i="0">
                <a:gradFill>
                  <a:gsLst>
                    <a:gs pos="1250">
                      <a:schemeClr val="tx1"/>
                    </a:gs>
                    <a:gs pos="100000">
                      <a:schemeClr val="tx1"/>
                    </a:gs>
                  </a:gsLst>
                  <a:lin ang="5400000" scaled="0"/>
                </a:gradFill>
                <a:latin typeface="+mn-lt"/>
                <a:ea typeface="Segoe UI" pitchFamily="34" charset="0"/>
                <a:cs typeface="Segoe UI" pitchFamily="34" charset="0"/>
              </a:defRPr>
            </a:lvl3pPr>
            <a:lvl4pPr marL="845031" indent="0">
              <a:buClr>
                <a:schemeClr val="tx1"/>
              </a:buClr>
              <a:buSzPct val="90000"/>
              <a:buFont typeface="Arial" pitchFamily="34" charset="0"/>
              <a:buNone/>
              <a:defRPr sz="1765" b="0" i="0">
                <a:gradFill>
                  <a:gsLst>
                    <a:gs pos="1250">
                      <a:schemeClr val="tx1"/>
                    </a:gs>
                    <a:gs pos="100000">
                      <a:schemeClr val="tx1"/>
                    </a:gs>
                  </a:gsLst>
                  <a:lin ang="5400000" scaled="0"/>
                </a:gradFill>
                <a:latin typeface="+mn-lt"/>
                <a:ea typeface="Segoe UI" pitchFamily="34" charset="0"/>
                <a:cs typeface="Segoe UI" pitchFamily="34" charset="0"/>
              </a:defRPr>
            </a:lvl4pPr>
            <a:lvl5pPr marL="1069128" indent="0">
              <a:buClr>
                <a:schemeClr val="tx1"/>
              </a:buClr>
              <a:buSzPct val="90000"/>
              <a:buFont typeface="Arial" pitchFamily="34" charset="0"/>
              <a:buNone/>
              <a:defRPr sz="1568" b="0" i="0">
                <a:gradFill>
                  <a:gsLst>
                    <a:gs pos="1250">
                      <a:schemeClr val="tx1"/>
                    </a:gs>
                    <a:gs pos="100000">
                      <a:schemeClr val="tx1"/>
                    </a:gs>
                  </a:gsLst>
                  <a:lin ang="5400000" scaled="0"/>
                </a:gradFill>
                <a:latin typeface="+mn-lt"/>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b="0" i="0">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34066903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Section Title w/black overlay">
    <p:bg>
      <p:bgPr>
        <a:solidFill>
          <a:schemeClr val="tx2"/>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0" y="-4824"/>
            <a:ext cx="12192000" cy="510524"/>
          </a:xfrm>
        </p:spPr>
        <p:txBody>
          <a:bodyPr/>
          <a:lstStyle>
            <a:lvl1pPr>
              <a:defRPr baseline="0">
                <a:solidFill>
                  <a:schemeClr val="bg1"/>
                </a:solidFill>
              </a:defRPr>
            </a:lvl1pPr>
          </a:lstStyle>
          <a:p>
            <a:r>
              <a:rPr lang="en-US" dirty="0"/>
              <a:t>Click on icon to insert picture, then send to back</a:t>
            </a:r>
          </a:p>
        </p:txBody>
      </p:sp>
      <p:sp>
        <p:nvSpPr>
          <p:cNvPr id="4" name="Title 1"/>
          <p:cNvSpPr>
            <a:spLocks noGrp="1"/>
          </p:cNvSpPr>
          <p:nvPr>
            <p:ph type="title" hasCustomPrompt="1"/>
          </p:nvPr>
        </p:nvSpPr>
        <p:spPr>
          <a:xfrm>
            <a:off x="228600" y="2095501"/>
            <a:ext cx="8991601" cy="2492266"/>
          </a:xfrm>
          <a:prstGeom prst="rect">
            <a:avLst/>
          </a:prstGeom>
          <a:noFill/>
          <a:ln>
            <a:noFill/>
          </a:ln>
        </p:spPr>
        <p:txBody>
          <a:bodyPr lIns="137160" tIns="91440" rIns="137160" bIns="0" anchor="b" anchorCtr="0">
            <a:noAutofit/>
          </a:bodyPr>
          <a:lstStyle>
            <a:lvl1pPr>
              <a:defRPr sz="4800" b="0" i="0" spc="-100" baseline="0">
                <a:solidFill>
                  <a:schemeClr val="bg1"/>
                </a:solidFill>
                <a:latin typeface="+mj-lt"/>
                <a:cs typeface="Segoe UI Semilight" panose="020B0402040204020203" pitchFamily="34" charset="0"/>
              </a:defRPr>
            </a:lvl1pPr>
          </a:lstStyle>
          <a:p>
            <a:r>
              <a:rPr lang="en-US" dirty="0"/>
              <a:t>Section title</a:t>
            </a:r>
          </a:p>
        </p:txBody>
      </p:sp>
    </p:spTree>
    <p:extLst>
      <p:ext uri="{BB962C8B-B14F-4D97-AF65-F5344CB8AC3E}">
        <p14:creationId xmlns:p14="http://schemas.microsoft.com/office/powerpoint/2010/main" val="31599720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4"/>
            <a:ext cx="11653834" cy="1793071"/>
          </a:xfrm>
        </p:spPr>
        <p:txBody>
          <a:bodyPr/>
          <a:lstStyle>
            <a:lvl1pPr>
              <a:defRPr sz="57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40" y="2546470"/>
            <a:ext cx="7171399" cy="519583"/>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387923970"/>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2084174"/>
            <a:ext cx="11653523" cy="1457042"/>
          </a:xfrm>
        </p:spPr>
        <p:txBody>
          <a:bodyPr>
            <a:spAutoFit/>
          </a:bodyPr>
          <a:lstStyle>
            <a:lvl1pPr>
              <a:defRPr sz="2745"/>
            </a:lvl1pPr>
            <a:lvl2pPr>
              <a:defRPr sz="1567"/>
            </a:lvl2pPr>
            <a:lvl3pPr>
              <a:defRPr sz="1371"/>
            </a:lvl3pPr>
            <a:lvl4pPr>
              <a:defRPr sz="1175"/>
            </a:lvl4pPr>
            <a:lvl5pPr>
              <a:defRPr sz="117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3181805"/>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6" name="MS logo white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2" y="6111775"/>
            <a:ext cx="1423303" cy="304828"/>
          </a:xfrm>
          <a:prstGeom prst="rect">
            <a:avLst/>
          </a:prstGeom>
        </p:spPr>
      </p:pic>
    </p:spTree>
    <p:extLst>
      <p:ext uri="{BB962C8B-B14F-4D97-AF65-F5344CB8AC3E}">
        <p14:creationId xmlns:p14="http://schemas.microsoft.com/office/powerpoint/2010/main" val="27318677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3"/>
            <a:ext cx="6274911" cy="1793104"/>
          </a:xfrm>
          <a:noFill/>
        </p:spPr>
        <p:txBody>
          <a:bodyPr lIns="146304" tIns="91440" rIns="146304" bIns="91440" anchor="t" anchorCtr="0"/>
          <a:lstStyle>
            <a:lvl1pPr>
              <a:defRPr sz="4705" spc="-98" baseline="0">
                <a:solidFill>
                  <a:schemeClr val="tx1"/>
                </a:soli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6"/>
            <a:ext cx="6276530" cy="651821"/>
          </a:xfrm>
        </p:spPr>
        <p:txBody>
          <a:bodyPr wrap="square" lIns="164592" tIns="109728" rIns="164592" bIns="109728">
            <a:spAutoFit/>
          </a:bodyPr>
          <a:lstStyle>
            <a:lvl1pPr marL="0" indent="0">
              <a:spcBef>
                <a:spcPts val="0"/>
              </a:spcBef>
              <a:buNone/>
              <a:defRPr sz="3137">
                <a:solidFill>
                  <a:schemeClr val="tx1"/>
                </a:solidFill>
                <a:latin typeface="+mn-lt"/>
              </a:defRPr>
            </a:lvl1pPr>
          </a:lstStyle>
          <a:p>
            <a:pPr lvl="0"/>
            <a:r>
              <a:rPr lang="en-US" dirty="0"/>
              <a:t>Speaker name</a:t>
            </a:r>
          </a:p>
        </p:txBody>
      </p:sp>
      <p:pic>
        <p:nvPicPr>
          <p:cNvPr id="17" name="MS logo gray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2" y="6111775"/>
            <a:ext cx="1423303" cy="304828"/>
          </a:xfrm>
          <a:prstGeom prst="rect">
            <a:avLst/>
          </a:prstGeom>
        </p:spPr>
      </p:pic>
    </p:spTree>
    <p:extLst>
      <p:ext uri="{BB962C8B-B14F-4D97-AF65-F5344CB8AC3E}">
        <p14:creationId xmlns:p14="http://schemas.microsoft.com/office/powerpoint/2010/main" val="4235425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Title with photo and til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1" cy="6858000"/>
          </a:xfrm>
          <a:prstGeom prst="rect">
            <a:avLst/>
          </a:prstGeom>
        </p:spPr>
      </p:pic>
      <p:sp>
        <p:nvSpPr>
          <p:cNvPr id="9" name="Title 1"/>
          <p:cNvSpPr>
            <a:spLocks noGrp="1"/>
          </p:cNvSpPr>
          <p:nvPr>
            <p:ph type="title" hasCustomPrompt="1"/>
          </p:nvPr>
        </p:nvSpPr>
        <p:spPr bwMode="auto">
          <a:xfrm>
            <a:off x="269302" y="2648455"/>
            <a:ext cx="6274911" cy="1793104"/>
          </a:xfrm>
          <a:noFill/>
        </p:spPr>
        <p:txBody>
          <a:bodyPr lIns="146304" tIns="91440" rIns="146304" bIns="91440" anchor="t" anchorCtr="0"/>
          <a:lstStyle>
            <a:lvl1pPr>
              <a:defRPr sz="4705" spc="-98" baseline="0">
                <a:solidFill>
                  <a:schemeClr val="tx1"/>
                </a:soli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4773828"/>
            <a:ext cx="6276530" cy="543185"/>
          </a:xfrm>
        </p:spPr>
        <p:txBody>
          <a:bodyPr wrap="square" lIns="164592" tIns="109728" rIns="164592" bIns="109728">
            <a:spAutoFit/>
          </a:bodyPr>
          <a:lstStyle>
            <a:lvl1pPr marL="0" indent="0">
              <a:spcBef>
                <a:spcPts val="0"/>
              </a:spcBef>
              <a:buNone/>
              <a:defRPr sz="2353">
                <a:solidFill>
                  <a:schemeClr val="tx1"/>
                </a:solidFill>
                <a:latin typeface="+mn-lt"/>
              </a:defRPr>
            </a:lvl1pPr>
          </a:lstStyle>
          <a:p>
            <a:pPr lvl="0"/>
            <a:r>
              <a:rPr lang="en-US" dirty="0"/>
              <a:t>Speaker name</a:t>
            </a:r>
          </a:p>
        </p:txBody>
      </p:sp>
      <p:pic>
        <p:nvPicPr>
          <p:cNvPr id="8" name="MS logo white - EMF"/>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451632" y="6111775"/>
            <a:ext cx="1423303" cy="304828"/>
          </a:xfrm>
          <a:prstGeom prst="rect">
            <a:avLst/>
          </a:prstGeom>
        </p:spPr>
      </p:pic>
    </p:spTree>
    <p:extLst>
      <p:ext uri="{BB962C8B-B14F-4D97-AF65-F5344CB8AC3E}">
        <p14:creationId xmlns:p14="http://schemas.microsoft.com/office/powerpoint/2010/main" val="4258988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2" y="6111775"/>
            <a:ext cx="1423303" cy="304828"/>
          </a:xfrm>
          <a:prstGeom prst="rect">
            <a:avLst/>
          </a:prstGeom>
        </p:spPr>
      </p:pic>
    </p:spTree>
    <p:extLst>
      <p:ext uri="{BB962C8B-B14F-4D97-AF65-F5344CB8AC3E}">
        <p14:creationId xmlns:p14="http://schemas.microsoft.com/office/powerpoint/2010/main" val="13475479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8" name="MS logo white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2" y="6111775"/>
            <a:ext cx="1423303" cy="304828"/>
          </a:xfrm>
          <a:prstGeom prst="rect">
            <a:avLst/>
          </a:prstGeom>
        </p:spPr>
      </p:pic>
      <p:pic>
        <p:nvPicPr>
          <p:cNvPr id="6" name="Picture 5"/>
          <p:cNvPicPr>
            <a:picLocks noChangeAspect="1"/>
          </p:cNvPicPr>
          <p:nvPr/>
        </p:nvPicPr>
        <p:blipFill rotWithShape="1">
          <a:blip r:embed="rId3">
            <a:extLst>
              <a:ext uri="{28A0092B-C50C-407E-A947-70E740481C1C}">
                <a14:useLocalDpi xmlns:a14="http://schemas.microsoft.com/office/drawing/2010/main"/>
              </a:ext>
            </a:extLst>
          </a:blip>
          <a:srcRect/>
          <a:stretch/>
        </p:blipFill>
        <p:spPr>
          <a:xfrm>
            <a:off x="5333418" y="-2839"/>
            <a:ext cx="6856854" cy="6858000"/>
          </a:xfrm>
          <a:prstGeom prst="rect">
            <a:avLst/>
          </a:prstGeom>
        </p:spPr>
      </p:pic>
    </p:spTree>
    <p:extLst>
      <p:ext uri="{BB962C8B-B14F-4D97-AF65-F5344CB8AC3E}">
        <p14:creationId xmlns:p14="http://schemas.microsoft.com/office/powerpoint/2010/main" val="16042040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160563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18179279"/>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049385614"/>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770180898"/>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3116011965"/>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7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9"/>
            <a:ext cx="10757098" cy="1886111"/>
          </a:xfrm>
        </p:spPr>
        <p:txBody>
          <a:bodyPr/>
          <a:lstStyle>
            <a:lvl1pPr>
              <a:defRPr sz="25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98085321"/>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91069"/>
            <a:ext cx="4795873" cy="1484704"/>
          </a:xfrm>
        </p:spPr>
        <p:txBody>
          <a:bodyPr wrap="square" anchor="t">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7" name="Picture Placeholder 4"/>
          <p:cNvSpPr>
            <a:spLocks noGrp="1" noChangeAspect="1"/>
          </p:cNvSpPr>
          <p:nvPr>
            <p:ph type="pic" sz="quarter" idx="10"/>
          </p:nvPr>
        </p:nvSpPr>
        <p:spPr bwMode="ltGray">
          <a:xfrm>
            <a:off x="5334350" y="0"/>
            <a:ext cx="6857650" cy="6856100"/>
          </a:xfrm>
          <a:prstGeom prst="rect">
            <a:avLst/>
          </a:prstGeom>
          <a:blipFill>
            <a:blip r:embed="rId2">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954399526"/>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195827"/>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6559073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9518778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83817177"/>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228330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916268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724610"/>
          </a:xfrm>
        </p:spPr>
        <p:txBody>
          <a:bodyPr/>
          <a:lstStyle>
            <a:lvl1pPr marL="0" indent="0">
              <a:buNone/>
              <a:defRPr sz="3235">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1pPr>
            <a:lvl2pPr marL="339726" indent="0">
              <a:buNone/>
              <a:defRPr>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2pPr>
            <a:lvl3pPr marL="573090" indent="0">
              <a:buNone/>
              <a:defRPr>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3pPr>
            <a:lvl4pPr marL="798516" indent="0">
              <a:buNone/>
              <a:defRPr>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4pPr>
            <a:lvl5pPr marL="1030292" indent="0">
              <a:buNone/>
              <a:defRPr>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80867923"/>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Closing logo slide 1">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2579846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Closing logo slide 2">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2" y="3302732"/>
            <a:ext cx="1423303" cy="304828"/>
          </a:xfrm>
          <a:prstGeom prst="rect">
            <a:avLst/>
          </a:prstGeom>
        </p:spPr>
      </p:pic>
    </p:spTree>
    <p:extLst>
      <p:ext uri="{BB962C8B-B14F-4D97-AF65-F5344CB8AC3E}">
        <p14:creationId xmlns:p14="http://schemas.microsoft.com/office/powerpoint/2010/main" val="4244531620"/>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26" Type="http://schemas.openxmlformats.org/officeDocument/2006/relationships/slideLayout" Target="../slideLayouts/slideLayout47.xml"/><Relationship Id="rId3" Type="http://schemas.openxmlformats.org/officeDocument/2006/relationships/slideLayout" Target="../slideLayouts/slideLayout24.xml"/><Relationship Id="rId21" Type="http://schemas.openxmlformats.org/officeDocument/2006/relationships/slideLayout" Target="../slideLayouts/slideLayout42.xml"/><Relationship Id="rId34" Type="http://schemas.openxmlformats.org/officeDocument/2006/relationships/slideLayout" Target="../slideLayouts/slideLayout55.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5" Type="http://schemas.openxmlformats.org/officeDocument/2006/relationships/slideLayout" Target="../slideLayouts/slideLayout46.xml"/><Relationship Id="rId33" Type="http://schemas.openxmlformats.org/officeDocument/2006/relationships/slideLayout" Target="../slideLayouts/slideLayout54.xml"/><Relationship Id="rId38" Type="http://schemas.openxmlformats.org/officeDocument/2006/relationships/theme" Target="../theme/theme2.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slideLayout" Target="../slideLayouts/slideLayout41.xml"/><Relationship Id="rId29" Type="http://schemas.openxmlformats.org/officeDocument/2006/relationships/slideLayout" Target="../slideLayouts/slideLayout50.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24" Type="http://schemas.openxmlformats.org/officeDocument/2006/relationships/slideLayout" Target="../slideLayouts/slideLayout45.xml"/><Relationship Id="rId32" Type="http://schemas.openxmlformats.org/officeDocument/2006/relationships/slideLayout" Target="../slideLayouts/slideLayout53.xml"/><Relationship Id="rId37" Type="http://schemas.openxmlformats.org/officeDocument/2006/relationships/slideLayout" Target="../slideLayouts/slideLayout58.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slideLayout" Target="../slideLayouts/slideLayout44.xml"/><Relationship Id="rId28" Type="http://schemas.openxmlformats.org/officeDocument/2006/relationships/slideLayout" Target="../slideLayouts/slideLayout49.xml"/><Relationship Id="rId36" Type="http://schemas.openxmlformats.org/officeDocument/2006/relationships/slideLayout" Target="../slideLayouts/slideLayout57.x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31" Type="http://schemas.openxmlformats.org/officeDocument/2006/relationships/slideLayout" Target="../slideLayouts/slideLayout52.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slideLayout" Target="../slideLayouts/slideLayout43.xml"/><Relationship Id="rId27" Type="http://schemas.openxmlformats.org/officeDocument/2006/relationships/slideLayout" Target="../slideLayouts/slideLayout48.xml"/><Relationship Id="rId30" Type="http://schemas.openxmlformats.org/officeDocument/2006/relationships/slideLayout" Target="../slideLayouts/slideLayout51.xml"/><Relationship Id="rId35" Type="http://schemas.openxmlformats.org/officeDocument/2006/relationships/slideLayout" Target="../slideLayouts/slideLayout5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slideLayout" Target="../slideLayouts/slideLayout71.xml"/><Relationship Id="rId18" Type="http://schemas.openxmlformats.org/officeDocument/2006/relationships/slideLayout" Target="../slideLayouts/slideLayout76.xml"/><Relationship Id="rId3" Type="http://schemas.openxmlformats.org/officeDocument/2006/relationships/slideLayout" Target="../slideLayouts/slideLayout61.xml"/><Relationship Id="rId21" Type="http://schemas.openxmlformats.org/officeDocument/2006/relationships/slideLayout" Target="../slideLayouts/slideLayout79.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17" Type="http://schemas.openxmlformats.org/officeDocument/2006/relationships/slideLayout" Target="../slideLayouts/slideLayout75.xml"/><Relationship Id="rId2" Type="http://schemas.openxmlformats.org/officeDocument/2006/relationships/slideLayout" Target="../slideLayouts/slideLayout60.xml"/><Relationship Id="rId16" Type="http://schemas.openxmlformats.org/officeDocument/2006/relationships/slideLayout" Target="../slideLayouts/slideLayout74.xml"/><Relationship Id="rId20" Type="http://schemas.openxmlformats.org/officeDocument/2006/relationships/slideLayout" Target="../slideLayouts/slideLayout78.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24" Type="http://schemas.openxmlformats.org/officeDocument/2006/relationships/image" Target="../media/image9.emf"/><Relationship Id="rId5" Type="http://schemas.openxmlformats.org/officeDocument/2006/relationships/slideLayout" Target="../slideLayouts/slideLayout63.xml"/><Relationship Id="rId15" Type="http://schemas.openxmlformats.org/officeDocument/2006/relationships/slideLayout" Target="../slideLayouts/slideLayout73.xml"/><Relationship Id="rId23" Type="http://schemas.openxmlformats.org/officeDocument/2006/relationships/theme" Target="../theme/theme3.xml"/><Relationship Id="rId10" Type="http://schemas.openxmlformats.org/officeDocument/2006/relationships/slideLayout" Target="../slideLayouts/slideLayout68.xml"/><Relationship Id="rId19" Type="http://schemas.openxmlformats.org/officeDocument/2006/relationships/slideLayout" Target="../slideLayouts/slideLayout77.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slideLayout" Target="../slideLayouts/slideLayout72.xml"/><Relationship Id="rId22" Type="http://schemas.openxmlformats.org/officeDocument/2006/relationships/slideLayout" Target="../slideLayouts/slideLayout8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slideLayout" Target="../slideLayouts/slideLayout93.xml"/><Relationship Id="rId18" Type="http://schemas.openxmlformats.org/officeDocument/2006/relationships/slideLayout" Target="../slideLayouts/slideLayout98.xml"/><Relationship Id="rId26" Type="http://schemas.openxmlformats.org/officeDocument/2006/relationships/theme" Target="../theme/theme4.xml"/><Relationship Id="rId3" Type="http://schemas.openxmlformats.org/officeDocument/2006/relationships/slideLayout" Target="../slideLayouts/slideLayout83.xml"/><Relationship Id="rId21" Type="http://schemas.openxmlformats.org/officeDocument/2006/relationships/slideLayout" Target="../slideLayouts/slideLayout101.xml"/><Relationship Id="rId7" Type="http://schemas.openxmlformats.org/officeDocument/2006/relationships/slideLayout" Target="../slideLayouts/slideLayout87.xml"/><Relationship Id="rId12" Type="http://schemas.openxmlformats.org/officeDocument/2006/relationships/slideLayout" Target="../slideLayouts/slideLayout92.xml"/><Relationship Id="rId17" Type="http://schemas.openxmlformats.org/officeDocument/2006/relationships/slideLayout" Target="../slideLayouts/slideLayout97.xml"/><Relationship Id="rId25" Type="http://schemas.openxmlformats.org/officeDocument/2006/relationships/slideLayout" Target="../slideLayouts/slideLayout105.xml"/><Relationship Id="rId2" Type="http://schemas.openxmlformats.org/officeDocument/2006/relationships/slideLayout" Target="../slideLayouts/slideLayout82.xml"/><Relationship Id="rId16" Type="http://schemas.openxmlformats.org/officeDocument/2006/relationships/slideLayout" Target="../slideLayouts/slideLayout96.xml"/><Relationship Id="rId20" Type="http://schemas.openxmlformats.org/officeDocument/2006/relationships/slideLayout" Target="../slideLayouts/slideLayout100.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24" Type="http://schemas.openxmlformats.org/officeDocument/2006/relationships/slideLayout" Target="../slideLayouts/slideLayout104.xml"/><Relationship Id="rId5" Type="http://schemas.openxmlformats.org/officeDocument/2006/relationships/slideLayout" Target="../slideLayouts/slideLayout85.xml"/><Relationship Id="rId15" Type="http://schemas.openxmlformats.org/officeDocument/2006/relationships/slideLayout" Target="../slideLayouts/slideLayout95.xml"/><Relationship Id="rId23" Type="http://schemas.openxmlformats.org/officeDocument/2006/relationships/slideLayout" Target="../slideLayouts/slideLayout103.xml"/><Relationship Id="rId10" Type="http://schemas.openxmlformats.org/officeDocument/2006/relationships/slideLayout" Target="../slideLayouts/slideLayout90.xml"/><Relationship Id="rId19" Type="http://schemas.openxmlformats.org/officeDocument/2006/relationships/slideLayout" Target="../slideLayouts/slideLayout99.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slideLayout" Target="../slideLayouts/slideLayout94.xml"/><Relationship Id="rId22" Type="http://schemas.openxmlformats.org/officeDocument/2006/relationships/slideLayout" Target="../slideLayouts/slideLayout102.xml"/><Relationship Id="rId27" Type="http://schemas.openxmlformats.org/officeDocument/2006/relationships/image" Target="../media/image9.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3.xml"/><Relationship Id="rId13" Type="http://schemas.openxmlformats.org/officeDocument/2006/relationships/slideLayout" Target="../slideLayouts/slideLayout118.xml"/><Relationship Id="rId3" Type="http://schemas.openxmlformats.org/officeDocument/2006/relationships/slideLayout" Target="../slideLayouts/slideLayout108.xml"/><Relationship Id="rId7" Type="http://schemas.openxmlformats.org/officeDocument/2006/relationships/slideLayout" Target="../slideLayouts/slideLayout112.xml"/><Relationship Id="rId12" Type="http://schemas.openxmlformats.org/officeDocument/2006/relationships/slideLayout" Target="../slideLayouts/slideLayout117.xml"/><Relationship Id="rId2" Type="http://schemas.openxmlformats.org/officeDocument/2006/relationships/slideLayout" Target="../slideLayouts/slideLayout107.xml"/><Relationship Id="rId16" Type="http://schemas.openxmlformats.org/officeDocument/2006/relationships/image" Target="../media/image14.png"/><Relationship Id="rId1" Type="http://schemas.openxmlformats.org/officeDocument/2006/relationships/slideLayout" Target="../slideLayouts/slideLayout106.xml"/><Relationship Id="rId6" Type="http://schemas.openxmlformats.org/officeDocument/2006/relationships/slideLayout" Target="../slideLayouts/slideLayout111.xml"/><Relationship Id="rId11" Type="http://schemas.openxmlformats.org/officeDocument/2006/relationships/slideLayout" Target="../slideLayouts/slideLayout116.xml"/><Relationship Id="rId5" Type="http://schemas.openxmlformats.org/officeDocument/2006/relationships/slideLayout" Target="../slideLayouts/slideLayout110.xml"/><Relationship Id="rId15" Type="http://schemas.openxmlformats.org/officeDocument/2006/relationships/theme" Target="../theme/theme5.xml"/><Relationship Id="rId10" Type="http://schemas.openxmlformats.org/officeDocument/2006/relationships/slideLayout" Target="../slideLayouts/slideLayout115.xml"/><Relationship Id="rId4" Type="http://schemas.openxmlformats.org/officeDocument/2006/relationships/slideLayout" Target="../slideLayouts/slideLayout109.xml"/><Relationship Id="rId9" Type="http://schemas.openxmlformats.org/officeDocument/2006/relationships/slideLayout" Target="../slideLayouts/slideLayout114.xml"/><Relationship Id="rId14" Type="http://schemas.openxmlformats.org/officeDocument/2006/relationships/slideLayout" Target="../slideLayouts/slideLayout1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3422" tIns="89639" rIns="143422" bIns="89639"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15945"/>
          </a:xfrm>
          <a:prstGeom prst="rect">
            <a:avLst/>
          </a:prstGeom>
        </p:spPr>
        <p:txBody>
          <a:bodyPr vert="horz" wrap="square" lIns="143422" tIns="89639" rIns="143422" bIns="89639"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87980794"/>
      </p:ext>
    </p:extLst>
  </p:cSld>
  <p:clrMap bg1="dk1" tx1="lt1" bg2="dk2" tx2="lt2" accent1="accent1" accent2="accent2" accent3="accent3" accent4="accent4" accent5="accent5" accent6="accent6" hlink="hlink" folHlink="folHlink"/>
  <p:sldLayoutIdLst>
    <p:sldLayoutId id="2147483876" r:id="rId1"/>
    <p:sldLayoutId id="2147483877" r:id="rId2"/>
    <p:sldLayoutId id="2147483878" r:id="rId3"/>
    <p:sldLayoutId id="2147483879" r:id="rId4"/>
    <p:sldLayoutId id="2147483880" r:id="rId5"/>
    <p:sldLayoutId id="2147483881" r:id="rId6"/>
    <p:sldLayoutId id="2147483882" r:id="rId7"/>
    <p:sldLayoutId id="2147483883" r:id="rId8"/>
    <p:sldLayoutId id="2147483884" r:id="rId9"/>
    <p:sldLayoutId id="2147483885" r:id="rId10"/>
    <p:sldLayoutId id="2147483886" r:id="rId11"/>
    <p:sldLayoutId id="2147483887" r:id="rId12"/>
    <p:sldLayoutId id="2147483888" r:id="rId13"/>
    <p:sldLayoutId id="2147483889" r:id="rId14"/>
    <p:sldLayoutId id="2147483890" r:id="rId15"/>
    <p:sldLayoutId id="2147483891" r:id="rId16"/>
    <p:sldLayoutId id="2147483892" r:id="rId17"/>
    <p:sldLayoutId id="2147483893" r:id="rId18"/>
    <p:sldLayoutId id="2147483894" r:id="rId19"/>
    <p:sldLayoutId id="2147483896" r:id="rId20"/>
    <p:sldLayoutId id="2147484014" r:id="rId21"/>
  </p:sldLayoutIdLst>
  <p:transition>
    <p:fade/>
  </p:transition>
  <p:txStyles>
    <p:titleStyle>
      <a:lvl1pPr algn="l" defTabSz="914367" rtl="0" eaLnBrk="1" latinLnBrk="0" hangingPunct="1">
        <a:lnSpc>
          <a:spcPct val="90000"/>
        </a:lnSpc>
        <a:spcBef>
          <a:spcPct val="0"/>
        </a:spcBef>
        <a:buNone/>
        <a:defRPr lang="en-US" sz="5300" b="0" kern="1200" cap="none" spc="-100"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7" rtl="0" eaLnBrk="1" latinLnBrk="0" hangingPunct="1">
        <a:defRPr sz="1800" kern="1200">
          <a:solidFill>
            <a:schemeClr val="tx1"/>
          </a:solidFill>
          <a:latin typeface="+mn-lt"/>
          <a:ea typeface="+mn-ea"/>
          <a:cs typeface="+mn-cs"/>
        </a:defRPr>
      </a:lvl1pPr>
      <a:lvl2pPr marL="457183" algn="l" defTabSz="914367" rtl="0" eaLnBrk="1" latinLnBrk="0" hangingPunct="1">
        <a:defRPr sz="1800" kern="1200">
          <a:solidFill>
            <a:schemeClr val="tx1"/>
          </a:solidFill>
          <a:latin typeface="+mn-lt"/>
          <a:ea typeface="+mn-ea"/>
          <a:cs typeface="+mn-cs"/>
        </a:defRPr>
      </a:lvl2pPr>
      <a:lvl3pPr marL="914367" algn="l" defTabSz="914367" rtl="0" eaLnBrk="1" latinLnBrk="0" hangingPunct="1">
        <a:defRPr sz="1800" kern="1200">
          <a:solidFill>
            <a:schemeClr val="tx1"/>
          </a:solidFill>
          <a:latin typeface="+mn-lt"/>
          <a:ea typeface="+mn-ea"/>
          <a:cs typeface="+mn-cs"/>
        </a:defRPr>
      </a:lvl3pPr>
      <a:lvl4pPr marL="1371550" algn="l" defTabSz="914367" rtl="0" eaLnBrk="1" latinLnBrk="0" hangingPunct="1">
        <a:defRPr sz="1800" kern="1200">
          <a:solidFill>
            <a:schemeClr val="tx1"/>
          </a:solidFill>
          <a:latin typeface="+mn-lt"/>
          <a:ea typeface="+mn-ea"/>
          <a:cs typeface="+mn-cs"/>
        </a:defRPr>
      </a:lvl4pPr>
      <a:lvl5pPr marL="1828734" algn="l" defTabSz="914367" rtl="0" eaLnBrk="1" latinLnBrk="0" hangingPunct="1">
        <a:defRPr sz="1800" kern="1200">
          <a:solidFill>
            <a:schemeClr val="tx1"/>
          </a:solidFill>
          <a:latin typeface="+mn-lt"/>
          <a:ea typeface="+mn-ea"/>
          <a:cs typeface="+mn-cs"/>
        </a:defRPr>
      </a:lvl5pPr>
      <a:lvl6pPr marL="2285918" algn="l" defTabSz="914367" rtl="0" eaLnBrk="1" latinLnBrk="0" hangingPunct="1">
        <a:defRPr sz="1800" kern="1200">
          <a:solidFill>
            <a:schemeClr val="tx1"/>
          </a:solidFill>
          <a:latin typeface="+mn-lt"/>
          <a:ea typeface="+mn-ea"/>
          <a:cs typeface="+mn-cs"/>
        </a:defRPr>
      </a:lvl6pPr>
      <a:lvl7pPr marL="2743101" algn="l" defTabSz="914367" rtl="0" eaLnBrk="1" latinLnBrk="0" hangingPunct="1">
        <a:defRPr sz="1800" kern="1200">
          <a:solidFill>
            <a:schemeClr val="tx1"/>
          </a:solidFill>
          <a:latin typeface="+mn-lt"/>
          <a:ea typeface="+mn-ea"/>
          <a:cs typeface="+mn-cs"/>
        </a:defRPr>
      </a:lvl7pPr>
      <a:lvl8pPr marL="3200284" algn="l" defTabSz="914367" rtl="0" eaLnBrk="1" latinLnBrk="0" hangingPunct="1">
        <a:defRPr sz="1800" kern="1200">
          <a:solidFill>
            <a:schemeClr val="tx1"/>
          </a:solidFill>
          <a:latin typeface="+mn-lt"/>
          <a:ea typeface="+mn-ea"/>
          <a:cs typeface="+mn-cs"/>
        </a:defRPr>
      </a:lvl8pPr>
      <a:lvl9pPr marL="3657469" algn="l" defTabSz="91436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5"/>
            <a:ext cx="11655840" cy="899665"/>
          </a:xfrm>
          <a:prstGeom prst="rect">
            <a:avLst/>
          </a:prstGeom>
        </p:spPr>
        <p:txBody>
          <a:bodyPr vert="horz" wrap="square" lIns="146237" tIns="91399" rIns="146237" bIns="91399"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80"/>
            <a:ext cx="11653520" cy="2021772"/>
          </a:xfrm>
          <a:prstGeom prst="rect">
            <a:avLst/>
          </a:prstGeom>
        </p:spPr>
        <p:txBody>
          <a:bodyPr vert="horz" wrap="square" lIns="146237" tIns="91399" rIns="146237" bIns="91399"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1162747"/>
      </p:ext>
    </p:extLst>
  </p:cSld>
  <p:clrMap bg1="lt1" tx1="dk1" bg2="lt2" tx2="dk2" accent1="accent1" accent2="accent2" accent3="accent3" accent4="accent4" accent5="accent5" accent6="accent6" hlink="hlink" folHlink="folHlink"/>
  <p:sldLayoutIdLst>
    <p:sldLayoutId id="2147483905" r:id="rId1"/>
    <p:sldLayoutId id="2147483906" r:id="rId2"/>
    <p:sldLayoutId id="2147483907" r:id="rId3"/>
    <p:sldLayoutId id="2147483908" r:id="rId4"/>
    <p:sldLayoutId id="2147483909" r:id="rId5"/>
    <p:sldLayoutId id="2147483910" r:id="rId6"/>
    <p:sldLayoutId id="2147483911" r:id="rId7"/>
    <p:sldLayoutId id="2147483912" r:id="rId8"/>
    <p:sldLayoutId id="2147483913" r:id="rId9"/>
    <p:sldLayoutId id="2147483914" r:id="rId10"/>
    <p:sldLayoutId id="2147483915" r:id="rId11"/>
    <p:sldLayoutId id="2147483916" r:id="rId12"/>
    <p:sldLayoutId id="2147483917" r:id="rId13"/>
    <p:sldLayoutId id="2147483918" r:id="rId14"/>
    <p:sldLayoutId id="2147483919" r:id="rId15"/>
    <p:sldLayoutId id="2147483920" r:id="rId16"/>
    <p:sldLayoutId id="2147483921" r:id="rId17"/>
    <p:sldLayoutId id="2147483922" r:id="rId18"/>
    <p:sldLayoutId id="2147483923" r:id="rId19"/>
    <p:sldLayoutId id="2147483924" r:id="rId20"/>
    <p:sldLayoutId id="2147483925" r:id="rId21"/>
    <p:sldLayoutId id="2147483926" r:id="rId22"/>
    <p:sldLayoutId id="2147483927" r:id="rId23"/>
    <p:sldLayoutId id="2147483928" r:id="rId24"/>
    <p:sldLayoutId id="2147483929" r:id="rId25"/>
    <p:sldLayoutId id="2147483930" r:id="rId26"/>
    <p:sldLayoutId id="2147483931" r:id="rId27"/>
    <p:sldLayoutId id="2147483932" r:id="rId28"/>
    <p:sldLayoutId id="2147483933" r:id="rId29"/>
    <p:sldLayoutId id="2147483934" r:id="rId30"/>
    <p:sldLayoutId id="2147483935" r:id="rId31"/>
    <p:sldLayoutId id="2147483936" r:id="rId32"/>
    <p:sldLayoutId id="2147483937" r:id="rId33"/>
    <p:sldLayoutId id="2147483938" r:id="rId34"/>
    <p:sldLayoutId id="2147483939" r:id="rId35"/>
    <p:sldLayoutId id="2147483940" r:id="rId36"/>
    <p:sldLayoutId id="2147483941" r:id="rId37"/>
  </p:sldLayoutIdLst>
  <p:transition>
    <p:fade/>
  </p:transition>
  <p:hf hdr="0" ftr="0" dt="0"/>
  <p:txStyles>
    <p:titleStyle>
      <a:lvl1pPr algn="l" defTabSz="913939" rtl="0" eaLnBrk="1" latinLnBrk="0" hangingPunct="1">
        <a:lnSpc>
          <a:spcPct val="90000"/>
        </a:lnSpc>
        <a:spcBef>
          <a:spcPct val="0"/>
        </a:spcBef>
        <a:buNone/>
        <a:defRPr lang="en-US" sz="5196"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988" marR="0" indent="-335988" algn="l" defTabSz="913939" rtl="0" eaLnBrk="1" fontAlgn="auto" latinLnBrk="0" hangingPunct="1">
        <a:lnSpc>
          <a:spcPct val="90000"/>
        </a:lnSpc>
        <a:spcBef>
          <a:spcPct val="20000"/>
        </a:spcBef>
        <a:spcAft>
          <a:spcPts val="0"/>
        </a:spcAft>
        <a:buClrTx/>
        <a:buSzPct val="90000"/>
        <a:buFont typeface="Arial" pitchFamily="34" charset="0"/>
        <a:buChar char="•"/>
        <a:tabLst/>
        <a:defRPr sz="3823" kern="1200" spc="0" baseline="0">
          <a:gradFill>
            <a:gsLst>
              <a:gs pos="1250">
                <a:schemeClr val="tx1"/>
              </a:gs>
              <a:gs pos="100000">
                <a:schemeClr val="tx1"/>
              </a:gs>
            </a:gsLst>
            <a:lin ang="5400000" scaled="0"/>
          </a:gradFill>
          <a:latin typeface="+mj-lt"/>
          <a:ea typeface="+mn-ea"/>
          <a:cs typeface="+mn-cs"/>
        </a:defRPr>
      </a:lvl1pPr>
      <a:lvl2pPr marL="572424" marR="0" indent="-236435" algn="l" defTabSz="913939"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3971" marR="0" indent="-223992" algn="l" defTabSz="913939" rtl="0" eaLnBrk="1" fontAlgn="auto" latinLnBrk="0" hangingPunct="1">
        <a:lnSpc>
          <a:spcPct val="90000"/>
        </a:lnSpc>
        <a:spcBef>
          <a:spcPct val="20000"/>
        </a:spcBef>
        <a:spcAft>
          <a:spcPts val="0"/>
        </a:spcAft>
        <a:buClrTx/>
        <a:buSzPct val="90000"/>
        <a:buFont typeface="Arial" pitchFamily="34" charset="0"/>
        <a:buChar char="•"/>
        <a:tabLst/>
        <a:defRPr sz="1863" kern="1200" spc="0" baseline="0">
          <a:gradFill>
            <a:gsLst>
              <a:gs pos="1250">
                <a:schemeClr val="tx1"/>
              </a:gs>
              <a:gs pos="100000">
                <a:schemeClr val="tx1"/>
              </a:gs>
            </a:gsLst>
            <a:lin ang="5400000" scaled="0"/>
          </a:gradFill>
          <a:latin typeface="+mn-lt"/>
          <a:ea typeface="+mn-ea"/>
          <a:cs typeface="+mn-cs"/>
        </a:defRPr>
      </a:lvl3pPr>
      <a:lvl4pPr marL="1007961" marR="0" indent="-223992" algn="l" defTabSz="913939"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1955" marR="0" indent="-223992" algn="l" defTabSz="913939"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330" indent="-228485" algn="l" defTabSz="913939" rtl="0" eaLnBrk="1" latinLnBrk="0" hangingPunct="1">
        <a:spcBef>
          <a:spcPct val="20000"/>
        </a:spcBef>
        <a:buFont typeface="Arial" pitchFamily="34" charset="0"/>
        <a:buChar char="•"/>
        <a:defRPr sz="1863" kern="1200">
          <a:solidFill>
            <a:schemeClr val="tx1"/>
          </a:solidFill>
          <a:latin typeface="+mn-lt"/>
          <a:ea typeface="+mn-ea"/>
          <a:cs typeface="+mn-cs"/>
        </a:defRPr>
      </a:lvl6pPr>
      <a:lvl7pPr marL="2970301" indent="-228485" algn="l" defTabSz="913939" rtl="0" eaLnBrk="1" latinLnBrk="0" hangingPunct="1">
        <a:spcBef>
          <a:spcPct val="20000"/>
        </a:spcBef>
        <a:buFont typeface="Arial" pitchFamily="34" charset="0"/>
        <a:buChar char="•"/>
        <a:defRPr sz="1863" kern="1200">
          <a:solidFill>
            <a:schemeClr val="tx1"/>
          </a:solidFill>
          <a:latin typeface="+mn-lt"/>
          <a:ea typeface="+mn-ea"/>
          <a:cs typeface="+mn-cs"/>
        </a:defRPr>
      </a:lvl7pPr>
      <a:lvl8pPr marL="3427270" indent="-228485" algn="l" defTabSz="913939" rtl="0" eaLnBrk="1" latinLnBrk="0" hangingPunct="1">
        <a:spcBef>
          <a:spcPct val="20000"/>
        </a:spcBef>
        <a:buFont typeface="Arial" pitchFamily="34" charset="0"/>
        <a:buChar char="•"/>
        <a:defRPr sz="1863" kern="1200">
          <a:solidFill>
            <a:schemeClr val="tx1"/>
          </a:solidFill>
          <a:latin typeface="+mn-lt"/>
          <a:ea typeface="+mn-ea"/>
          <a:cs typeface="+mn-cs"/>
        </a:defRPr>
      </a:lvl8pPr>
      <a:lvl9pPr marL="3884242" indent="-228485" algn="l" defTabSz="913939" rtl="0" eaLnBrk="1" latinLnBrk="0" hangingPunct="1">
        <a:spcBef>
          <a:spcPct val="20000"/>
        </a:spcBef>
        <a:buFont typeface="Arial" pitchFamily="34" charset="0"/>
        <a:buChar char="•"/>
        <a:defRPr sz="1863" kern="1200">
          <a:solidFill>
            <a:schemeClr val="tx1"/>
          </a:solidFill>
          <a:latin typeface="+mn-lt"/>
          <a:ea typeface="+mn-ea"/>
          <a:cs typeface="+mn-cs"/>
        </a:defRPr>
      </a:lvl9pPr>
    </p:bodyStyle>
    <p:otherStyle>
      <a:defPPr>
        <a:defRPr lang="en-US"/>
      </a:defPPr>
      <a:lvl1pPr marL="0" algn="l" defTabSz="913939" rtl="0" eaLnBrk="1" latinLnBrk="0" hangingPunct="1">
        <a:defRPr sz="1765" kern="1200">
          <a:solidFill>
            <a:schemeClr val="tx1"/>
          </a:solidFill>
          <a:latin typeface="+mn-lt"/>
          <a:ea typeface="+mn-ea"/>
          <a:cs typeface="+mn-cs"/>
        </a:defRPr>
      </a:lvl1pPr>
      <a:lvl2pPr marL="456970" algn="l" defTabSz="913939" rtl="0" eaLnBrk="1" latinLnBrk="0" hangingPunct="1">
        <a:defRPr sz="1765" kern="1200">
          <a:solidFill>
            <a:schemeClr val="tx1"/>
          </a:solidFill>
          <a:latin typeface="+mn-lt"/>
          <a:ea typeface="+mn-ea"/>
          <a:cs typeface="+mn-cs"/>
        </a:defRPr>
      </a:lvl2pPr>
      <a:lvl3pPr marL="913939" algn="l" defTabSz="913939" rtl="0" eaLnBrk="1" latinLnBrk="0" hangingPunct="1">
        <a:defRPr sz="1765" kern="1200">
          <a:solidFill>
            <a:schemeClr val="tx1"/>
          </a:solidFill>
          <a:latin typeface="+mn-lt"/>
          <a:ea typeface="+mn-ea"/>
          <a:cs typeface="+mn-cs"/>
        </a:defRPr>
      </a:lvl3pPr>
      <a:lvl4pPr marL="1370908" algn="l" defTabSz="913939" rtl="0" eaLnBrk="1" latinLnBrk="0" hangingPunct="1">
        <a:defRPr sz="1765" kern="1200">
          <a:solidFill>
            <a:schemeClr val="tx1"/>
          </a:solidFill>
          <a:latin typeface="+mn-lt"/>
          <a:ea typeface="+mn-ea"/>
          <a:cs typeface="+mn-cs"/>
        </a:defRPr>
      </a:lvl4pPr>
      <a:lvl5pPr marL="1827876" algn="l" defTabSz="913939" rtl="0" eaLnBrk="1" latinLnBrk="0" hangingPunct="1">
        <a:defRPr sz="1765" kern="1200">
          <a:solidFill>
            <a:schemeClr val="tx1"/>
          </a:solidFill>
          <a:latin typeface="+mn-lt"/>
          <a:ea typeface="+mn-ea"/>
          <a:cs typeface="+mn-cs"/>
        </a:defRPr>
      </a:lvl5pPr>
      <a:lvl6pPr marL="2284848" algn="l" defTabSz="913939" rtl="0" eaLnBrk="1" latinLnBrk="0" hangingPunct="1">
        <a:defRPr sz="1765" kern="1200">
          <a:solidFill>
            <a:schemeClr val="tx1"/>
          </a:solidFill>
          <a:latin typeface="+mn-lt"/>
          <a:ea typeface="+mn-ea"/>
          <a:cs typeface="+mn-cs"/>
        </a:defRPr>
      </a:lvl6pPr>
      <a:lvl7pPr marL="2741816" algn="l" defTabSz="913939" rtl="0" eaLnBrk="1" latinLnBrk="0" hangingPunct="1">
        <a:defRPr sz="1765" kern="1200">
          <a:solidFill>
            <a:schemeClr val="tx1"/>
          </a:solidFill>
          <a:latin typeface="+mn-lt"/>
          <a:ea typeface="+mn-ea"/>
          <a:cs typeface="+mn-cs"/>
        </a:defRPr>
      </a:lvl7pPr>
      <a:lvl8pPr marL="3198786" algn="l" defTabSz="913939" rtl="0" eaLnBrk="1" latinLnBrk="0" hangingPunct="1">
        <a:defRPr sz="1765" kern="1200">
          <a:solidFill>
            <a:schemeClr val="tx1"/>
          </a:solidFill>
          <a:latin typeface="+mn-lt"/>
          <a:ea typeface="+mn-ea"/>
          <a:cs typeface="+mn-cs"/>
        </a:defRPr>
      </a:lvl8pPr>
      <a:lvl9pPr marL="3655755" algn="l" defTabSz="913939" rtl="0" eaLnBrk="1" latinLnBrk="0" hangingPunct="1">
        <a:defRPr sz="1765"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1635589"/>
          </a:xfrm>
          <a:prstGeom prst="rect">
            <a:avLst/>
          </a:prstGeom>
        </p:spPr>
        <p:txBody>
          <a:bodyPr vert="horz" wrap="square" lIns="182880" tIns="91440" rIns="91440" bIns="9144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p:nvPicPr>
        <p:blipFill>
          <a:blip r:embed="rId24" cstate="print">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037405729"/>
      </p:ext>
    </p:extLst>
  </p:cSld>
  <p:clrMap bg1="lt1" tx1="dk1" bg2="lt2" tx2="dk2" accent1="accent1" accent2="accent2" accent3="accent3" accent4="accent4" accent5="accent5" accent6="accent6" hlink="hlink" folHlink="folHlink"/>
  <p:sldLayoutIdLst>
    <p:sldLayoutId id="2147483950" r:id="rId1"/>
    <p:sldLayoutId id="2147483951" r:id="rId2"/>
    <p:sldLayoutId id="2147483952" r:id="rId3"/>
    <p:sldLayoutId id="2147483953" r:id="rId4"/>
    <p:sldLayoutId id="2147483954" r:id="rId5"/>
    <p:sldLayoutId id="2147483955" r:id="rId6"/>
    <p:sldLayoutId id="2147483956" r:id="rId7"/>
    <p:sldLayoutId id="2147483957" r:id="rId8"/>
    <p:sldLayoutId id="2147483958" r:id="rId9"/>
    <p:sldLayoutId id="2147483959" r:id="rId10"/>
    <p:sldLayoutId id="2147483960" r:id="rId11"/>
    <p:sldLayoutId id="2147483961" r:id="rId12"/>
    <p:sldLayoutId id="2147483962" r:id="rId13"/>
    <p:sldLayoutId id="2147483963" r:id="rId14"/>
    <p:sldLayoutId id="2147483964" r:id="rId15"/>
    <p:sldLayoutId id="2147483965" r:id="rId16"/>
    <p:sldLayoutId id="2147483966" r:id="rId17"/>
    <p:sldLayoutId id="2147483967" r:id="rId18"/>
    <p:sldLayoutId id="2147483968" r:id="rId19"/>
    <p:sldLayoutId id="2147483969" r:id="rId20"/>
    <p:sldLayoutId id="2147483970" r:id="rId21"/>
    <p:sldLayoutId id="2147483971" r:id="rId22"/>
  </p:sldLayoutIdLst>
  <p:transition>
    <p:fade/>
  </p:transition>
  <p:hf sldNum="0" hdr="0" ftr="0" dt="0"/>
  <p:txStyles>
    <p:titleStyle>
      <a:lvl1pPr algn="l" defTabSz="914367" rtl="0" eaLnBrk="1" latinLnBrk="0" hangingPunct="1">
        <a:lnSpc>
          <a:spcPct val="90000"/>
        </a:lnSpc>
        <a:spcBef>
          <a:spcPct val="0"/>
        </a:spcBef>
        <a:buNone/>
        <a:defRPr lang="en-US" sz="4705" b="0" kern="1200" cap="none" spc="-100" baseline="0" dirty="0" smtClean="0">
          <a:ln w="3175">
            <a:noFill/>
          </a:ln>
          <a:solidFill>
            <a:schemeClr val="tx1"/>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sz="2353" b="0" i="0" kern="1200" spc="0" baseline="0">
          <a:solidFill>
            <a:schemeClr val="tx1"/>
          </a:solidFill>
          <a:latin typeface="+mn-lt"/>
          <a:ea typeface="+mn-ea"/>
          <a:cs typeface="+mn-cs"/>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sz="1765" b="0" i="0" kern="1200" spc="0" baseline="0">
          <a:solidFill>
            <a:schemeClr val="tx1"/>
          </a:solidFill>
          <a:latin typeface="+mn-lt"/>
          <a:ea typeface="+mn-ea"/>
          <a:cs typeface="+mn-cs"/>
        </a:defRPr>
      </a:lvl2pPr>
      <a:lvl3pPr marL="448193"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sz="1568" b="0" i="0" kern="1200" spc="0" baseline="0">
          <a:solidFill>
            <a:schemeClr val="tx1"/>
          </a:solidFill>
          <a:latin typeface="+mn-lt"/>
          <a:ea typeface="+mn-ea"/>
          <a:cs typeface="+mn-cs"/>
        </a:defRPr>
      </a:lvl3pPr>
      <a:lvl4pPr marL="672290"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sz="1568" b="0" i="0" kern="1200" spc="0" baseline="0">
          <a:solidFill>
            <a:schemeClr val="tx1"/>
          </a:solidFill>
          <a:latin typeface="+mn-lt"/>
          <a:ea typeface="+mn-ea"/>
          <a:cs typeface="+mn-cs"/>
        </a:defRPr>
      </a:lvl4pPr>
      <a:lvl5pPr marL="896386"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sz="1568" b="0" i="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1635589"/>
          </a:xfrm>
          <a:prstGeom prst="rect">
            <a:avLst/>
          </a:prstGeom>
        </p:spPr>
        <p:txBody>
          <a:bodyPr vert="horz" wrap="square" lIns="182880" tIns="91440" rIns="91440" bIns="9144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p:nvPicPr>
        <p:blipFill>
          <a:blip r:embed="rId27" cstate="print">
            <a:extLst>
              <a:ext uri="{28A0092B-C50C-407E-A947-70E740481C1C}">
                <a14:useLocalDpi xmlns:a14="http://schemas.microsoft.com/office/drawing/2010/main"/>
              </a:ext>
            </a:extLst>
          </a:blip>
          <a:stretch>
            <a:fillRect/>
          </a:stretch>
        </p:blipFill>
        <p:spPr>
          <a:xfrm rot="5400000">
            <a:off x="9386284" y="3012391"/>
            <a:ext cx="6858623" cy="833218"/>
          </a:xfrm>
          <a:prstGeom prst="rect">
            <a:avLst/>
          </a:prstGeom>
        </p:spPr>
      </p:pic>
    </p:spTree>
    <p:extLst>
      <p:ext uri="{BB962C8B-B14F-4D97-AF65-F5344CB8AC3E}">
        <p14:creationId xmlns:p14="http://schemas.microsoft.com/office/powerpoint/2010/main" val="1931947794"/>
      </p:ext>
    </p:extLst>
  </p:cSld>
  <p:clrMap bg1="lt1" tx1="dk1" bg2="lt2" tx2="dk2" accent1="accent1" accent2="accent2" accent3="accent3" accent4="accent4" accent5="accent5" accent6="accent6" hlink="hlink" folHlink="folHlink"/>
  <p:sldLayoutIdLst>
    <p:sldLayoutId id="2147483974" r:id="rId1"/>
    <p:sldLayoutId id="2147483975" r:id="rId2"/>
    <p:sldLayoutId id="2147483976" r:id="rId3"/>
    <p:sldLayoutId id="2147483977" r:id="rId4"/>
    <p:sldLayoutId id="2147483978" r:id="rId5"/>
    <p:sldLayoutId id="2147483979" r:id="rId6"/>
    <p:sldLayoutId id="2147483980" r:id="rId7"/>
    <p:sldLayoutId id="2147483981" r:id="rId8"/>
    <p:sldLayoutId id="2147483982" r:id="rId9"/>
    <p:sldLayoutId id="2147483983" r:id="rId10"/>
    <p:sldLayoutId id="2147483984" r:id="rId11"/>
    <p:sldLayoutId id="2147483985" r:id="rId12"/>
    <p:sldLayoutId id="2147483986" r:id="rId13"/>
    <p:sldLayoutId id="2147483987" r:id="rId14"/>
    <p:sldLayoutId id="2147483988" r:id="rId15"/>
    <p:sldLayoutId id="2147483989" r:id="rId16"/>
    <p:sldLayoutId id="2147483990" r:id="rId17"/>
    <p:sldLayoutId id="2147483991" r:id="rId18"/>
    <p:sldLayoutId id="2147483992" r:id="rId19"/>
    <p:sldLayoutId id="2147483993" r:id="rId20"/>
    <p:sldLayoutId id="2147483994" r:id="rId21"/>
    <p:sldLayoutId id="2147483995" r:id="rId22"/>
    <p:sldLayoutId id="2147483996" r:id="rId23"/>
    <p:sldLayoutId id="2147483997" r:id="rId24"/>
    <p:sldLayoutId id="2147483998" r:id="rId25"/>
  </p:sldLayoutIdLst>
  <p:transition>
    <p:fade/>
  </p:transition>
  <p:hf sldNum="0" hdr="0" ftr="0" dt="0"/>
  <p:txStyles>
    <p:titleStyle>
      <a:lvl1pPr algn="l" defTabSz="914367" rtl="0" eaLnBrk="1" latinLnBrk="0" hangingPunct="1">
        <a:lnSpc>
          <a:spcPct val="90000"/>
        </a:lnSpc>
        <a:spcBef>
          <a:spcPct val="0"/>
        </a:spcBef>
        <a:buNone/>
        <a:defRPr lang="en-US" sz="4705" b="0" kern="1200" cap="none" spc="-100" baseline="0" dirty="0" smtClean="0">
          <a:ln w="3175">
            <a:noFill/>
          </a:ln>
          <a:solidFill>
            <a:schemeClr val="tx1"/>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sz="2353" b="0" i="0" kern="1200" spc="0" baseline="0">
          <a:solidFill>
            <a:schemeClr val="tx1"/>
          </a:solidFill>
          <a:latin typeface="+mn-lt"/>
          <a:ea typeface="+mn-ea"/>
          <a:cs typeface="+mn-cs"/>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sz="1765" b="0" i="0" kern="1200" spc="0" baseline="0">
          <a:solidFill>
            <a:schemeClr val="tx1"/>
          </a:solidFill>
          <a:latin typeface="+mn-lt"/>
          <a:ea typeface="+mn-ea"/>
          <a:cs typeface="+mn-cs"/>
        </a:defRPr>
      </a:lvl2pPr>
      <a:lvl3pPr marL="448193"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sz="1568" b="0" i="0" kern="1200" spc="0" baseline="0">
          <a:solidFill>
            <a:schemeClr val="tx1"/>
          </a:solidFill>
          <a:latin typeface="+mn-lt"/>
          <a:ea typeface="+mn-ea"/>
          <a:cs typeface="+mn-cs"/>
        </a:defRPr>
      </a:lvl3pPr>
      <a:lvl4pPr marL="672290"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sz="1568" b="0" i="0" kern="1200" spc="0" baseline="0">
          <a:solidFill>
            <a:schemeClr val="tx1"/>
          </a:solidFill>
          <a:latin typeface="+mn-lt"/>
          <a:ea typeface="+mn-ea"/>
          <a:cs typeface="+mn-cs"/>
        </a:defRPr>
      </a:lvl4pPr>
      <a:lvl5pPr marL="896386"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sz="1568" b="0" i="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4"/>
            <a:ext cx="11655840" cy="627864"/>
          </a:xfrm>
          <a:prstGeom prst="rect">
            <a:avLst/>
          </a:prstGeom>
        </p:spPr>
        <p:txBody>
          <a:bodyPr vert="horz" wrap="square" lIns="146304" tIns="91440" rIns="146304" bIns="91440" rtlCol="0" anchor="t">
            <a:spAutoFit/>
          </a:bodyPr>
          <a:lstStyle/>
          <a:p>
            <a:r>
              <a:rPr lang="en-US" dirty="0"/>
              <a:t>Click to edit Master title style</a:t>
            </a:r>
          </a:p>
        </p:txBody>
      </p:sp>
      <p:sp>
        <p:nvSpPr>
          <p:cNvPr id="4" name="Text Placeholder 3"/>
          <p:cNvSpPr>
            <a:spLocks noGrp="1"/>
          </p:cNvSpPr>
          <p:nvPr>
            <p:ph type="body" idx="1"/>
          </p:nvPr>
        </p:nvSpPr>
        <p:spPr>
          <a:xfrm>
            <a:off x="269243" y="1189177"/>
            <a:ext cx="11653521" cy="5398436"/>
          </a:xfrm>
          <a:prstGeom prst="rect">
            <a:avLst/>
          </a:prstGeom>
        </p:spPr>
        <p:txBody>
          <a:bodyPr vert="horz" wrap="square" lIns="146304" tIns="91440" rIns="146304" bIns="9144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16" cstate="print">
            <a:extLst>
              <a:ext uri="{28A0092B-C50C-407E-A947-70E740481C1C}">
                <a14:useLocalDpi xmlns:a14="http://schemas.microsoft.com/office/drawing/2010/main"/>
              </a:ext>
            </a:extLst>
          </a:blip>
          <a:stretch>
            <a:fillRect/>
          </a:stretch>
        </p:blipFill>
        <p:spPr>
          <a:xfrm rot="5400000">
            <a:off x="9396000" y="2845599"/>
            <a:ext cx="6497930" cy="713342"/>
          </a:xfrm>
          <a:prstGeom prst="rect">
            <a:avLst/>
          </a:prstGeom>
        </p:spPr>
      </p:pic>
    </p:spTree>
    <p:extLst>
      <p:ext uri="{BB962C8B-B14F-4D97-AF65-F5344CB8AC3E}">
        <p14:creationId xmlns:p14="http://schemas.microsoft.com/office/powerpoint/2010/main" val="2674738005"/>
      </p:ext>
    </p:extLst>
  </p:cSld>
  <p:clrMap bg1="lt1" tx1="dk1" bg2="lt2" tx2="dk2" accent1="accent1" accent2="accent2" accent3="accent3" accent4="accent4" accent5="accent5" accent6="accent6" hlink="hlink" folHlink="folHlink"/>
  <p:sldLayoutIdLst>
    <p:sldLayoutId id="2147484000" r:id="rId1"/>
    <p:sldLayoutId id="2147484001" r:id="rId2"/>
    <p:sldLayoutId id="2147484002" r:id="rId3"/>
    <p:sldLayoutId id="2147484003" r:id="rId4"/>
    <p:sldLayoutId id="2147484004" r:id="rId5"/>
    <p:sldLayoutId id="2147484005" r:id="rId6"/>
    <p:sldLayoutId id="2147484006" r:id="rId7"/>
    <p:sldLayoutId id="2147484007" r:id="rId8"/>
    <p:sldLayoutId id="2147484008" r:id="rId9"/>
    <p:sldLayoutId id="2147484009" r:id="rId10"/>
    <p:sldLayoutId id="2147484010" r:id="rId11"/>
    <p:sldLayoutId id="2147484011" r:id="rId12"/>
    <p:sldLayoutId id="2147484012" r:id="rId13"/>
    <p:sldLayoutId id="2147484013" r:id="rId14"/>
  </p:sldLayoutIdLst>
  <p:transition>
    <p:fade/>
  </p:transition>
  <p:hf sldNum="0" hdr="0" ftr="0" dt="0"/>
  <p:txStyles>
    <p:titleStyle>
      <a:lvl1pPr algn="l" defTabSz="913829" rtl="0" eaLnBrk="1" latinLnBrk="0" hangingPunct="1">
        <a:lnSpc>
          <a:spcPct val="90000"/>
        </a:lnSpc>
        <a:spcBef>
          <a:spcPct val="0"/>
        </a:spcBef>
        <a:buNone/>
        <a:defRPr lang="en-US" sz="32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0" marR="0" indent="0" algn="l" defTabSz="913829" rtl="0" eaLnBrk="1" fontAlgn="auto" latinLnBrk="0" hangingPunct="1">
        <a:lnSpc>
          <a:spcPct val="90000"/>
        </a:lnSpc>
        <a:spcBef>
          <a:spcPct val="20000"/>
        </a:spcBef>
        <a:spcAft>
          <a:spcPts val="0"/>
        </a:spcAft>
        <a:buClrTx/>
        <a:buSzPct val="90000"/>
        <a:buFont typeface="Arial" pitchFamily="34" charset="0"/>
        <a:buNone/>
        <a:tabLst/>
        <a:defRPr sz="2800" kern="1200" spc="0" baseline="0">
          <a:gradFill>
            <a:gsLst>
              <a:gs pos="1250">
                <a:srgbClr val="0078D7"/>
              </a:gs>
              <a:gs pos="100000">
                <a:srgbClr val="0078D7">
                  <a:alpha val="99000"/>
                </a:srgbClr>
              </a:gs>
            </a:gsLst>
            <a:lin ang="5400000" scaled="0"/>
          </a:gradFill>
          <a:latin typeface="Segoe UI Semibold" panose="020B0702040204020203" pitchFamily="34" charset="0"/>
          <a:ea typeface="+mn-ea"/>
          <a:cs typeface="Segoe UI Semibold" panose="020B0702040204020203" pitchFamily="34" charset="0"/>
        </a:defRPr>
      </a:lvl1pPr>
      <a:lvl2pPr marL="0" marR="0" indent="0" algn="l" defTabSz="913829" rtl="0" eaLnBrk="1" fontAlgn="auto" latinLnBrk="0" hangingPunct="1">
        <a:lnSpc>
          <a:spcPct val="90000"/>
        </a:lnSpc>
        <a:spcBef>
          <a:spcPct val="20000"/>
        </a:spcBef>
        <a:spcAft>
          <a:spcPts val="0"/>
        </a:spcAft>
        <a:buClr>
          <a:srgbClr val="0070C0"/>
        </a:buClr>
        <a:buSzPct val="90000"/>
        <a:buFont typeface="Arial" pitchFamily="34" charset="0"/>
        <a:buNone/>
        <a:tabLst/>
        <a:defRPr sz="2800" kern="1200" spc="0" baseline="0">
          <a:gradFill>
            <a:gsLst>
              <a:gs pos="1250">
                <a:schemeClr val="tx1"/>
              </a:gs>
              <a:gs pos="100000">
                <a:schemeClr val="tx1"/>
              </a:gs>
            </a:gsLst>
            <a:lin ang="5400000" scaled="0"/>
          </a:gradFill>
          <a:latin typeface="+mn-lt"/>
          <a:ea typeface="+mn-ea"/>
          <a:cs typeface="+mn-cs"/>
        </a:defRPr>
      </a:lvl2pPr>
      <a:lvl3pPr marL="344356" marR="0" indent="-344356" algn="l" defTabSz="913829" rtl="0" eaLnBrk="1" fontAlgn="auto" latinLnBrk="0" hangingPunct="1">
        <a:lnSpc>
          <a:spcPct val="90000"/>
        </a:lnSpc>
        <a:spcBef>
          <a:spcPct val="20000"/>
        </a:spcBef>
        <a:spcAft>
          <a:spcPts val="0"/>
        </a:spcAft>
        <a:buClr>
          <a:srgbClr val="0078D7"/>
        </a:buClr>
        <a:buSzPct val="90000"/>
        <a:buFont typeface="Arial" panose="020B0604020202020204" pitchFamily="34" charset="0"/>
        <a:buChar char="•"/>
        <a:tabLst/>
        <a:defRPr sz="2800" kern="1200" spc="0" baseline="0">
          <a:gradFill>
            <a:gsLst>
              <a:gs pos="1250">
                <a:schemeClr val="tx1"/>
              </a:gs>
              <a:gs pos="100000">
                <a:schemeClr val="tx1"/>
              </a:gs>
            </a:gsLst>
            <a:lin ang="5400000" scaled="0"/>
          </a:gradFill>
          <a:latin typeface="+mn-lt"/>
          <a:ea typeface="+mn-ea"/>
          <a:cs typeface="+mn-cs"/>
        </a:defRPr>
      </a:lvl3pPr>
      <a:lvl4pPr marL="344356" marR="0" indent="-344356" algn="l" defTabSz="913829" rtl="0" eaLnBrk="1" fontAlgn="auto" latinLnBrk="0" hangingPunct="1">
        <a:lnSpc>
          <a:spcPct val="90000"/>
        </a:lnSpc>
        <a:spcBef>
          <a:spcPct val="20000"/>
        </a:spcBef>
        <a:spcAft>
          <a:spcPts val="0"/>
        </a:spcAft>
        <a:buClr>
          <a:srgbClr val="0078D7"/>
        </a:buClr>
        <a:buSzPct val="90000"/>
        <a:buFont typeface="+mj-lt"/>
        <a:buAutoNum type="alphaUcPeriod"/>
        <a:tabLst/>
        <a:defRPr sz="2800" kern="1200" spc="0" baseline="0">
          <a:gradFill>
            <a:gsLst>
              <a:gs pos="1250">
                <a:schemeClr val="tx1"/>
              </a:gs>
              <a:gs pos="100000">
                <a:schemeClr val="tx1"/>
              </a:gs>
            </a:gsLst>
            <a:lin ang="5400000" scaled="0"/>
          </a:gradFill>
          <a:latin typeface="+mn-lt"/>
          <a:ea typeface="+mn-ea"/>
          <a:cs typeface="+mn-cs"/>
        </a:defRPr>
      </a:lvl4pPr>
      <a:lvl5pPr marL="344356" marR="0" indent="-344356" algn="l" defTabSz="913829" rtl="0" eaLnBrk="1" fontAlgn="auto" latinLnBrk="0" hangingPunct="1">
        <a:lnSpc>
          <a:spcPct val="90000"/>
        </a:lnSpc>
        <a:spcBef>
          <a:spcPct val="20000"/>
        </a:spcBef>
        <a:spcAft>
          <a:spcPts val="0"/>
        </a:spcAft>
        <a:buClr>
          <a:srgbClr val="0078D7"/>
        </a:buClr>
        <a:buSzPct val="90000"/>
        <a:buFont typeface="+mj-lt"/>
        <a:buAutoNum type="arabicPeriod"/>
        <a:tabLst/>
        <a:defRPr sz="2800" kern="1200" spc="0" baseline="0">
          <a:gradFill>
            <a:gsLst>
              <a:gs pos="1250">
                <a:schemeClr val="tx1"/>
              </a:gs>
              <a:gs pos="100000">
                <a:schemeClr val="tx1"/>
              </a:gs>
            </a:gsLst>
            <a:lin ang="5400000" scaled="0"/>
          </a:gradFill>
          <a:latin typeface="+mn-lt"/>
          <a:ea typeface="+mn-ea"/>
          <a:cs typeface="+mn-cs"/>
        </a:defRPr>
      </a:lvl5pPr>
      <a:lvl6pPr marL="2513031" indent="-228458" algn="l" defTabSz="913829"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69946" indent="-228458" algn="l" defTabSz="913829"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6861" indent="-228458" algn="l" defTabSz="913829"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3776" indent="-228458" algn="l" defTabSz="913829"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3829" rtl="0" eaLnBrk="1" latinLnBrk="0" hangingPunct="1">
        <a:defRPr sz="1764" kern="1200">
          <a:solidFill>
            <a:schemeClr val="tx1"/>
          </a:solidFill>
          <a:latin typeface="+mn-lt"/>
          <a:ea typeface="+mn-ea"/>
          <a:cs typeface="+mn-cs"/>
        </a:defRPr>
      </a:lvl1pPr>
      <a:lvl2pPr marL="456914" algn="l" defTabSz="913829" rtl="0" eaLnBrk="1" latinLnBrk="0" hangingPunct="1">
        <a:defRPr sz="1764" kern="1200">
          <a:solidFill>
            <a:schemeClr val="tx1"/>
          </a:solidFill>
          <a:latin typeface="+mn-lt"/>
          <a:ea typeface="+mn-ea"/>
          <a:cs typeface="+mn-cs"/>
        </a:defRPr>
      </a:lvl2pPr>
      <a:lvl3pPr marL="913829" algn="l" defTabSz="913829" rtl="0" eaLnBrk="1" latinLnBrk="0" hangingPunct="1">
        <a:defRPr sz="1764" kern="1200">
          <a:solidFill>
            <a:schemeClr val="tx1"/>
          </a:solidFill>
          <a:latin typeface="+mn-lt"/>
          <a:ea typeface="+mn-ea"/>
          <a:cs typeface="+mn-cs"/>
        </a:defRPr>
      </a:lvl3pPr>
      <a:lvl4pPr marL="1370744" algn="l" defTabSz="913829" rtl="0" eaLnBrk="1" latinLnBrk="0" hangingPunct="1">
        <a:defRPr sz="1764" kern="1200">
          <a:solidFill>
            <a:schemeClr val="tx1"/>
          </a:solidFill>
          <a:latin typeface="+mn-lt"/>
          <a:ea typeface="+mn-ea"/>
          <a:cs typeface="+mn-cs"/>
        </a:defRPr>
      </a:lvl4pPr>
      <a:lvl5pPr marL="1827659" algn="l" defTabSz="913829" rtl="0" eaLnBrk="1" latinLnBrk="0" hangingPunct="1">
        <a:defRPr sz="1764" kern="1200">
          <a:solidFill>
            <a:schemeClr val="tx1"/>
          </a:solidFill>
          <a:latin typeface="+mn-lt"/>
          <a:ea typeface="+mn-ea"/>
          <a:cs typeface="+mn-cs"/>
        </a:defRPr>
      </a:lvl5pPr>
      <a:lvl6pPr marL="2284574" algn="l" defTabSz="913829" rtl="0" eaLnBrk="1" latinLnBrk="0" hangingPunct="1">
        <a:defRPr sz="1764" kern="1200">
          <a:solidFill>
            <a:schemeClr val="tx1"/>
          </a:solidFill>
          <a:latin typeface="+mn-lt"/>
          <a:ea typeface="+mn-ea"/>
          <a:cs typeface="+mn-cs"/>
        </a:defRPr>
      </a:lvl6pPr>
      <a:lvl7pPr marL="2741488" algn="l" defTabSz="913829" rtl="0" eaLnBrk="1" latinLnBrk="0" hangingPunct="1">
        <a:defRPr sz="1764" kern="1200">
          <a:solidFill>
            <a:schemeClr val="tx1"/>
          </a:solidFill>
          <a:latin typeface="+mn-lt"/>
          <a:ea typeface="+mn-ea"/>
          <a:cs typeface="+mn-cs"/>
        </a:defRPr>
      </a:lvl7pPr>
      <a:lvl8pPr marL="3198403" algn="l" defTabSz="913829" rtl="0" eaLnBrk="1" latinLnBrk="0" hangingPunct="1">
        <a:defRPr sz="1764" kern="1200">
          <a:solidFill>
            <a:schemeClr val="tx1"/>
          </a:solidFill>
          <a:latin typeface="+mn-lt"/>
          <a:ea typeface="+mn-ea"/>
          <a:cs typeface="+mn-cs"/>
        </a:defRPr>
      </a:lvl8pPr>
      <a:lvl9pPr marL="3655319" algn="l" defTabSz="913829"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1.xml"/><Relationship Id="rId1" Type="http://schemas.openxmlformats.org/officeDocument/2006/relationships/slideLayout" Target="../slideLayouts/slideLayout20.xml"/><Relationship Id="rId4" Type="http://schemas.openxmlformats.org/officeDocument/2006/relationships/image" Target="../media/image19.emf"/></Relationships>
</file>

<file path=ppt/slides/_rels/slide10.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5.png"/><Relationship Id="rId7" Type="http://schemas.openxmlformats.org/officeDocument/2006/relationships/image" Target="../media/image28.png"/><Relationship Id="rId2" Type="http://schemas.openxmlformats.org/officeDocument/2006/relationships/notesSlide" Target="../notesSlides/notesSlide10.xml"/><Relationship Id="rId1" Type="http://schemas.openxmlformats.org/officeDocument/2006/relationships/slideLayout" Target="../slideLayouts/slideLayout91.xml"/><Relationship Id="rId6" Type="http://schemas.openxmlformats.org/officeDocument/2006/relationships/image" Target="../media/image27.png"/><Relationship Id="rId5" Type="http://schemas.openxmlformats.org/officeDocument/2006/relationships/image" Target="../media/image26.png"/><Relationship Id="rId4" Type="http://schemas.microsoft.com/office/2007/relationships/hdphoto" Target="../media/hdphoto1.wdp"/></Relationships>
</file>

<file path=ppt/slides/_rels/slide11.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11.xml"/><Relationship Id="rId1" Type="http://schemas.openxmlformats.org/officeDocument/2006/relationships/slideLayout" Target="../slideLayouts/slideLayout102.xml"/><Relationship Id="rId5" Type="http://schemas.openxmlformats.org/officeDocument/2006/relationships/image" Target="../media/image32.jpeg"/><Relationship Id="rId4" Type="http://schemas.openxmlformats.org/officeDocument/2006/relationships/image" Target="../media/image31.jpeg"/></Relationships>
</file>

<file path=ppt/slides/_rels/slide12.xml.rels><?xml version="1.0" encoding="UTF-8" standalone="yes"?>
<Relationships xmlns="http://schemas.openxmlformats.org/package/2006/relationships"><Relationship Id="rId8" Type="http://schemas.openxmlformats.org/officeDocument/2006/relationships/image" Target="../media/image36.emf"/><Relationship Id="rId3" Type="http://schemas.openxmlformats.org/officeDocument/2006/relationships/image" Target="../media/image31.jpeg"/><Relationship Id="rId7" Type="http://schemas.openxmlformats.org/officeDocument/2006/relationships/image" Target="../media/image35.emf"/><Relationship Id="rId2" Type="http://schemas.openxmlformats.org/officeDocument/2006/relationships/notesSlide" Target="../notesSlides/notesSlide12.xml"/><Relationship Id="rId1" Type="http://schemas.openxmlformats.org/officeDocument/2006/relationships/slideLayout" Target="../slideLayouts/slideLayout103.xml"/><Relationship Id="rId6" Type="http://schemas.openxmlformats.org/officeDocument/2006/relationships/image" Target="../media/image34.emf"/><Relationship Id="rId5" Type="http://schemas.openxmlformats.org/officeDocument/2006/relationships/image" Target="../media/image33.emf"/><Relationship Id="rId4" Type="http://schemas.openxmlformats.org/officeDocument/2006/relationships/image" Target="../media/image21.png"/><Relationship Id="rId9" Type="http://schemas.openxmlformats.org/officeDocument/2006/relationships/image" Target="../media/image37.emf"/></Relationships>
</file>

<file path=ppt/slides/_rels/slide13.xml.rels><?xml version="1.0" encoding="UTF-8" standalone="yes"?>
<Relationships xmlns="http://schemas.openxmlformats.org/package/2006/relationships"><Relationship Id="rId8" Type="http://schemas.openxmlformats.org/officeDocument/2006/relationships/image" Target="../media/image38.emf"/><Relationship Id="rId3" Type="http://schemas.openxmlformats.org/officeDocument/2006/relationships/image" Target="../media/image32.jpeg"/><Relationship Id="rId7" Type="http://schemas.openxmlformats.org/officeDocument/2006/relationships/image" Target="../media/image23.png"/><Relationship Id="rId2" Type="http://schemas.openxmlformats.org/officeDocument/2006/relationships/notesSlide" Target="../notesSlides/notesSlide13.xml"/><Relationship Id="rId1" Type="http://schemas.openxmlformats.org/officeDocument/2006/relationships/slideLayout" Target="../slideLayouts/slideLayout103.xml"/><Relationship Id="rId6" Type="http://schemas.openxmlformats.org/officeDocument/2006/relationships/image" Target="../media/image35.emf"/><Relationship Id="rId5" Type="http://schemas.openxmlformats.org/officeDocument/2006/relationships/image" Target="../media/image33.emf"/><Relationship Id="rId4" Type="http://schemas.openxmlformats.org/officeDocument/2006/relationships/image" Target="../media/image22.png"/></Relationships>
</file>

<file path=ppt/slides/_rels/slide14.xml.rels><?xml version="1.0" encoding="UTF-8" standalone="yes"?>
<Relationships xmlns="http://schemas.openxmlformats.org/package/2006/relationships"><Relationship Id="rId8" Type="http://schemas.openxmlformats.org/officeDocument/2006/relationships/image" Target="../media/image36.emf"/><Relationship Id="rId3" Type="http://schemas.openxmlformats.org/officeDocument/2006/relationships/image" Target="../media/image30.jpeg"/><Relationship Id="rId7" Type="http://schemas.openxmlformats.org/officeDocument/2006/relationships/image" Target="../media/image35.emf"/><Relationship Id="rId2" Type="http://schemas.openxmlformats.org/officeDocument/2006/relationships/notesSlide" Target="../notesSlides/notesSlide14.xml"/><Relationship Id="rId1" Type="http://schemas.openxmlformats.org/officeDocument/2006/relationships/slideLayout" Target="../slideLayouts/slideLayout103.xml"/><Relationship Id="rId6" Type="http://schemas.openxmlformats.org/officeDocument/2006/relationships/image" Target="../media/image23.png"/><Relationship Id="rId5" Type="http://schemas.openxmlformats.org/officeDocument/2006/relationships/image" Target="../media/image34.emf"/><Relationship Id="rId4" Type="http://schemas.openxmlformats.org/officeDocument/2006/relationships/image" Target="../media/image33.emf"/><Relationship Id="rId9" Type="http://schemas.openxmlformats.org/officeDocument/2006/relationships/image" Target="../media/image38.emf"/></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91.xml"/></Relationships>
</file>

<file path=ppt/slides/_rels/slide16.xml.rels><?xml version="1.0" encoding="UTF-8" standalone="yes"?>
<Relationships xmlns="http://schemas.openxmlformats.org/package/2006/relationships"><Relationship Id="rId3" Type="http://schemas.openxmlformats.org/officeDocument/2006/relationships/image" Target="../media/image39.tiff"/><Relationship Id="rId2" Type="http://schemas.openxmlformats.org/officeDocument/2006/relationships/notesSlide" Target="../notesSlides/notesSlide16.xml"/><Relationship Id="rId1" Type="http://schemas.openxmlformats.org/officeDocument/2006/relationships/slideLayout" Target="../slideLayouts/slideLayout105.xml"/><Relationship Id="rId4" Type="http://schemas.openxmlformats.org/officeDocument/2006/relationships/hyperlink" Target="http://www.microsoft.com/gdpr" TargetMode="External"/></Relationships>
</file>

<file path=ppt/slides/_rels/slide17.xml.rels><?xml version="1.0" encoding="UTF-8" standalone="yes"?>
<Relationships xmlns="http://schemas.openxmlformats.org/package/2006/relationships"><Relationship Id="rId8" Type="http://schemas.openxmlformats.org/officeDocument/2006/relationships/image" Target="../media/image45.png"/><Relationship Id="rId13" Type="http://schemas.openxmlformats.org/officeDocument/2006/relationships/image" Target="../media/image50.png"/><Relationship Id="rId18" Type="http://schemas.openxmlformats.org/officeDocument/2006/relationships/image" Target="../media/image55.png"/><Relationship Id="rId3" Type="http://schemas.openxmlformats.org/officeDocument/2006/relationships/image" Target="../media/image40.png"/><Relationship Id="rId21" Type="http://schemas.openxmlformats.org/officeDocument/2006/relationships/image" Target="../media/image58.png"/><Relationship Id="rId7" Type="http://schemas.openxmlformats.org/officeDocument/2006/relationships/image" Target="../media/image44.png"/><Relationship Id="rId12" Type="http://schemas.openxmlformats.org/officeDocument/2006/relationships/image" Target="../media/image49.png"/><Relationship Id="rId17" Type="http://schemas.openxmlformats.org/officeDocument/2006/relationships/image" Target="../media/image54.png"/><Relationship Id="rId2" Type="http://schemas.openxmlformats.org/officeDocument/2006/relationships/notesSlide" Target="../notesSlides/notesSlide17.xml"/><Relationship Id="rId16" Type="http://schemas.openxmlformats.org/officeDocument/2006/relationships/image" Target="../media/image53.png"/><Relationship Id="rId20" Type="http://schemas.openxmlformats.org/officeDocument/2006/relationships/image" Target="../media/image57.png"/><Relationship Id="rId1" Type="http://schemas.openxmlformats.org/officeDocument/2006/relationships/slideLayout" Target="../slideLayouts/slideLayout86.xml"/><Relationship Id="rId6" Type="http://schemas.openxmlformats.org/officeDocument/2006/relationships/image" Target="../media/image43.png"/><Relationship Id="rId11" Type="http://schemas.openxmlformats.org/officeDocument/2006/relationships/image" Target="../media/image48.png"/><Relationship Id="rId5" Type="http://schemas.openxmlformats.org/officeDocument/2006/relationships/image" Target="../media/image42.png"/><Relationship Id="rId15" Type="http://schemas.openxmlformats.org/officeDocument/2006/relationships/image" Target="../media/image52.png"/><Relationship Id="rId10" Type="http://schemas.openxmlformats.org/officeDocument/2006/relationships/image" Target="../media/image47.png"/><Relationship Id="rId19" Type="http://schemas.openxmlformats.org/officeDocument/2006/relationships/image" Target="../media/image56.png"/><Relationship Id="rId4" Type="http://schemas.openxmlformats.org/officeDocument/2006/relationships/image" Target="../media/image41.png"/><Relationship Id="rId9" Type="http://schemas.openxmlformats.org/officeDocument/2006/relationships/image" Target="../media/image46.png"/><Relationship Id="rId14" Type="http://schemas.openxmlformats.org/officeDocument/2006/relationships/image" Target="../media/image51.png"/></Relationships>
</file>

<file path=ppt/slides/_rels/slide18.xml.rels><?xml version="1.0" encoding="UTF-8" standalone="yes"?>
<Relationships xmlns="http://schemas.openxmlformats.org/package/2006/relationships"><Relationship Id="rId3" Type="http://schemas.openxmlformats.org/officeDocument/2006/relationships/image" Target="../media/image59.emf"/><Relationship Id="rId2" Type="http://schemas.openxmlformats.org/officeDocument/2006/relationships/notesSlide" Target="../notesSlides/notesSlide18.xml"/><Relationship Id="rId1" Type="http://schemas.openxmlformats.org/officeDocument/2006/relationships/slideLayout" Target="../slideLayouts/slideLayout104.xml"/></Relationships>
</file>

<file path=ppt/slides/_rels/slide19.xml.rels><?xml version="1.0" encoding="UTF-8" standalone="yes"?>
<Relationships xmlns="http://schemas.openxmlformats.org/package/2006/relationships"><Relationship Id="rId3" Type="http://schemas.openxmlformats.org/officeDocument/2006/relationships/image" Target="../media/image59.emf"/><Relationship Id="rId2" Type="http://schemas.openxmlformats.org/officeDocument/2006/relationships/notesSlide" Target="../notesSlides/notesSlide19.xml"/><Relationship Id="rId1" Type="http://schemas.openxmlformats.org/officeDocument/2006/relationships/slideLayout" Target="../slideLayouts/slideLayout87.xml"/><Relationship Id="rId5" Type="http://schemas.openxmlformats.org/officeDocument/2006/relationships/image" Target="../media/image36.emf"/><Relationship Id="rId4" Type="http://schemas.openxmlformats.org/officeDocument/2006/relationships/image" Target="../media/image38.emf"/></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8" Type="http://schemas.openxmlformats.org/officeDocument/2006/relationships/notesSlide" Target="../notesSlides/notesSlide20.xml"/><Relationship Id="rId3" Type="http://schemas.openxmlformats.org/officeDocument/2006/relationships/tags" Target="../tags/tag4.xml"/><Relationship Id="rId7" Type="http://schemas.openxmlformats.org/officeDocument/2006/relationships/slideLayout" Target="../slideLayouts/slideLayout10.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tags" Target="../tags/tag7.xml"/><Relationship Id="rId5" Type="http://schemas.openxmlformats.org/officeDocument/2006/relationships/tags" Target="../tags/tag6.xml"/><Relationship Id="rId10" Type="http://schemas.openxmlformats.org/officeDocument/2006/relationships/image" Target="file://localhost/Users/jasonsnavlin/WORK/Microsoft%20Photos/STB13_Bijan_02.tif" TargetMode="External"/><Relationship Id="rId4" Type="http://schemas.openxmlformats.org/officeDocument/2006/relationships/tags" Target="../tags/tag5.xml"/><Relationship Id="rId9" Type="http://schemas.openxmlformats.org/officeDocument/2006/relationships/image" Target="../media/image60.tiff"/></Relationships>
</file>

<file path=ppt/slides/_rels/slide21.xml.rels><?xml version="1.0" encoding="UTF-8" standalone="yes"?>
<Relationships xmlns="http://schemas.openxmlformats.org/package/2006/relationships"><Relationship Id="rId3" Type="http://schemas.openxmlformats.org/officeDocument/2006/relationships/image" Target="../media/image39.tiff"/><Relationship Id="rId2" Type="http://schemas.openxmlformats.org/officeDocument/2006/relationships/notesSlide" Target="../notesSlides/notesSlide21.xml"/><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3" Type="http://schemas.openxmlformats.org/officeDocument/2006/relationships/image" Target="../media/image39.tiff"/><Relationship Id="rId2" Type="http://schemas.openxmlformats.org/officeDocument/2006/relationships/notesSlide" Target="../notesSlides/notesSlide22.xml"/><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3" Type="http://schemas.openxmlformats.org/officeDocument/2006/relationships/image" Target="../media/image39.tiff"/><Relationship Id="rId2" Type="http://schemas.openxmlformats.org/officeDocument/2006/relationships/notesSlide" Target="../notesSlides/notesSlide23.xml"/><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3" Type="http://schemas.openxmlformats.org/officeDocument/2006/relationships/image" Target="../media/image61.emf"/><Relationship Id="rId2" Type="http://schemas.openxmlformats.org/officeDocument/2006/relationships/notesSlide" Target="../notesSlides/notesSlide25.xml"/><Relationship Id="rId1" Type="http://schemas.openxmlformats.org/officeDocument/2006/relationships/slideLayout" Target="../slideLayouts/slideLayout87.xml"/><Relationship Id="rId5" Type="http://schemas.openxmlformats.org/officeDocument/2006/relationships/image" Target="../media/image63.emf"/><Relationship Id="rId4" Type="http://schemas.openxmlformats.org/officeDocument/2006/relationships/image" Target="../media/image62.emf"/></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5.xml"/></Relationships>
</file>

<file path=ppt/slides/_rels/slide27.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notesSlide" Target="../notesSlides/notesSlide27.xml"/><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9.xml"/></Relationships>
</file>

<file path=ppt/slides/_rels/slide4.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4.xml"/><Relationship Id="rId1" Type="http://schemas.openxmlformats.org/officeDocument/2006/relationships/slideLayout" Target="../slideLayouts/slideLayout64.xml"/></Relationships>
</file>

<file path=ppt/slides/_rels/slide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5.xml"/><Relationship Id="rId1" Type="http://schemas.openxmlformats.org/officeDocument/2006/relationships/slideLayout" Target="../slideLayouts/slideLayout65.xml"/><Relationship Id="rId5" Type="http://schemas.openxmlformats.org/officeDocument/2006/relationships/image" Target="../media/image23.png"/><Relationship Id="rId4" Type="http://schemas.openxmlformats.org/officeDocument/2006/relationships/image" Target="../media/image22.png"/></Relationships>
</file>

<file path=ppt/slides/_rels/slide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6.xml"/><Relationship Id="rId1" Type="http://schemas.openxmlformats.org/officeDocument/2006/relationships/slideLayout" Target="../slideLayouts/slideLayout6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9.xml"/></Relationships>
</file>

<file path=ppt/slides/_rels/slide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9.xml"/><Relationship Id="rId1" Type="http://schemas.openxmlformats.org/officeDocument/2006/relationships/slideLayout" Target="../slideLayouts/slideLayout10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F6C96C22-283A-452C-9129-62D294BE1B0F}"/>
              </a:ext>
            </a:extLst>
          </p:cNvPr>
          <p:cNvPicPr>
            <a:picLocks noChangeAspect="1"/>
          </p:cNvPicPr>
          <p:nvPr/>
        </p:nvPicPr>
        <p:blipFill rotWithShape="1">
          <a:blip r:embed="rId3">
            <a:extLst>
              <a:ext uri="{28A0092B-C50C-407E-A947-70E740481C1C}">
                <a14:useLocalDpi xmlns:a14="http://schemas.microsoft.com/office/drawing/2010/main" val="0"/>
              </a:ext>
            </a:extLst>
          </a:blip>
          <a:srcRect t="2935" b="13040"/>
          <a:stretch/>
        </p:blipFill>
        <p:spPr>
          <a:xfrm>
            <a:off x="0" y="0"/>
            <a:ext cx="12489521" cy="6994525"/>
          </a:xfrm>
          <a:prstGeom prst="rect">
            <a:avLst/>
          </a:prstGeom>
        </p:spPr>
      </p:pic>
      <p:sp>
        <p:nvSpPr>
          <p:cNvPr id="6" name="Rectangle 5"/>
          <p:cNvSpPr/>
          <p:nvPr/>
        </p:nvSpPr>
        <p:spPr bwMode="ltGray">
          <a:xfrm>
            <a:off x="5352574" y="877764"/>
            <a:ext cx="7129707" cy="5178791"/>
          </a:xfrm>
          <a:prstGeom prst="rect">
            <a:avLst/>
          </a:prstGeom>
          <a:solidFill>
            <a:srgbClr val="00B0F0">
              <a:alpha val="9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kern="0" dirty="0">
              <a:solidFill>
                <a:srgbClr val="00B0F0"/>
              </a:solidFill>
              <a:latin typeface="Segoe UI"/>
              <a:ea typeface="Segoe UI" pitchFamily="34" charset="0"/>
              <a:cs typeface="Segoe UI" pitchFamily="34" charset="0"/>
            </a:endParaRPr>
          </a:p>
        </p:txBody>
      </p:sp>
      <p:sp>
        <p:nvSpPr>
          <p:cNvPr id="5" name="Subtitle 4"/>
          <p:cNvSpPr>
            <a:spLocks noGrp="1"/>
          </p:cNvSpPr>
          <p:nvPr>
            <p:ph type="body" sz="quarter" idx="12"/>
          </p:nvPr>
        </p:nvSpPr>
        <p:spPr>
          <a:xfrm>
            <a:off x="5545621" y="5089410"/>
            <a:ext cx="5376684" cy="1174812"/>
          </a:xfrm>
        </p:spPr>
        <p:txBody>
          <a:bodyPr/>
          <a:lstStyle/>
          <a:p>
            <a:r>
              <a:rPr lang="en-US" sz="2400" dirty="0"/>
              <a:t>Prepared for: </a:t>
            </a:r>
          </a:p>
          <a:p>
            <a:r>
              <a:rPr lang="en-US" sz="2400" dirty="0"/>
              <a:t>&lt;partner name here&gt;</a:t>
            </a:r>
          </a:p>
        </p:txBody>
      </p:sp>
      <p:sp>
        <p:nvSpPr>
          <p:cNvPr id="4" name="Title 3"/>
          <p:cNvSpPr>
            <a:spLocks noGrp="1"/>
          </p:cNvSpPr>
          <p:nvPr>
            <p:ph type="title"/>
          </p:nvPr>
        </p:nvSpPr>
        <p:spPr>
          <a:xfrm>
            <a:off x="5659978" y="1033280"/>
            <a:ext cx="6918586" cy="2617829"/>
          </a:xfrm>
        </p:spPr>
        <p:txBody>
          <a:bodyPr>
            <a:noAutofit/>
          </a:bodyPr>
          <a:lstStyle/>
          <a:p>
            <a:pPr>
              <a:lnSpc>
                <a:spcPct val="100000"/>
              </a:lnSpc>
              <a:spcAft>
                <a:spcPts val="600"/>
              </a:spcAft>
            </a:pPr>
            <a:r>
              <a:rPr lang="en-US" sz="4800" dirty="0"/>
              <a:t>Selling EDU Predictive Analytics Solution</a:t>
            </a:r>
            <a:br>
              <a:rPr lang="en-US" sz="6600" dirty="0"/>
            </a:br>
            <a:endParaRPr lang="en-US" sz="4000" spc="0" dirty="0">
              <a:latin typeface="+mn-lt"/>
            </a:endParaRPr>
          </a:p>
        </p:txBody>
      </p:sp>
      <p:sp>
        <p:nvSpPr>
          <p:cNvPr id="7" name="Title 3"/>
          <p:cNvSpPr txBox="1">
            <a:spLocks/>
          </p:cNvSpPr>
          <p:nvPr/>
        </p:nvSpPr>
        <p:spPr>
          <a:xfrm>
            <a:off x="5569646" y="3592644"/>
            <a:ext cx="6695562" cy="1793104"/>
          </a:xfrm>
          <a:prstGeom prst="rect">
            <a:avLst/>
          </a:prstGeom>
          <a:noFill/>
        </p:spPr>
        <p:txBody>
          <a:bodyPr vert="horz" wrap="square" lIns="143408" tIns="89631" rIns="143408" bIns="89631" rtlCol="0" anchor="t" anchorCtr="0">
            <a:noAutofit/>
          </a:bodyPr>
          <a:lstStyle>
            <a:lvl1pPr algn="l" defTabSz="914367" rtl="0" eaLnBrk="1" latinLnBrk="0" hangingPunct="1">
              <a:lnSpc>
                <a:spcPct val="90000"/>
              </a:lnSpc>
              <a:spcBef>
                <a:spcPct val="0"/>
              </a:spcBef>
              <a:buNone/>
              <a:defRPr lang="en-US" sz="5900" b="0" kern="1200" cap="none" spc="-98" baseline="0">
                <a:ln w="3175">
                  <a:noFill/>
                </a:ln>
                <a:gradFill>
                  <a:gsLst>
                    <a:gs pos="46903">
                      <a:srgbClr val="FFFFFF"/>
                    </a:gs>
                    <a:gs pos="83000">
                      <a:srgbClr val="FFFFFF"/>
                    </a:gs>
                  </a:gsLst>
                  <a:lin ang="5400000" scaled="1"/>
                </a:gradFill>
                <a:effectLst/>
                <a:latin typeface="+mj-lt"/>
                <a:ea typeface="+mn-ea"/>
                <a:cs typeface="Segoe UI" pitchFamily="34" charset="0"/>
              </a:defRPr>
            </a:lvl1pPr>
          </a:lstStyle>
          <a:p>
            <a:pPr>
              <a:lnSpc>
                <a:spcPts val="3900"/>
              </a:lnSpc>
              <a:spcAft>
                <a:spcPts val="600"/>
              </a:spcAft>
            </a:pPr>
            <a:r>
              <a:rPr lang="en-US" sz="4000" i="1" spc="0" dirty="0">
                <a:latin typeface="+mn-lt"/>
              </a:rPr>
              <a:t>Institutional Effectiveness &amp; Student Dropout</a:t>
            </a:r>
          </a:p>
        </p:txBody>
      </p:sp>
      <p:pic>
        <p:nvPicPr>
          <p:cNvPr id="8" name="Picture 7">
            <a:extLst>
              <a:ext uri="{FF2B5EF4-FFF2-40B4-BE49-F238E27FC236}">
                <a16:creationId xmlns:a16="http://schemas.microsoft.com/office/drawing/2014/main" id="{F6E0DA35-9C76-4018-A8A4-8F41265447CE}"/>
              </a:ext>
            </a:extLst>
          </p:cNvPr>
          <p:cNvPicPr>
            <a:picLocks noChangeAspect="1"/>
          </p:cNvPicPr>
          <p:nvPr/>
        </p:nvPicPr>
        <p:blipFill>
          <a:blip r:embed="rId4"/>
          <a:stretch>
            <a:fillRect/>
          </a:stretch>
        </p:blipFill>
        <p:spPr>
          <a:xfrm>
            <a:off x="930430" y="348145"/>
            <a:ext cx="2420993" cy="515715"/>
          </a:xfrm>
          <a:prstGeom prst="rect">
            <a:avLst/>
          </a:prstGeom>
        </p:spPr>
      </p:pic>
    </p:spTree>
    <p:extLst>
      <p:ext uri="{BB962C8B-B14F-4D97-AF65-F5344CB8AC3E}">
        <p14:creationId xmlns:p14="http://schemas.microsoft.com/office/powerpoint/2010/main" val="269905672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00B0F0"/>
        </a:solidFill>
        <a:effectLst/>
      </p:bgPr>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923" y="289958"/>
            <a:ext cx="11655078" cy="899537"/>
          </a:xfrm>
        </p:spPr>
        <p:txBody>
          <a:bodyPr/>
          <a:lstStyle/>
          <a:p>
            <a:pPr defTabSz="914192"/>
            <a:r>
              <a:rPr lang="en-US" sz="4400" dirty="0">
                <a:solidFill>
                  <a:schemeClr val="bg1"/>
                </a:solidFill>
              </a:rPr>
              <a:t>Driving Institutional Effectiveness</a:t>
            </a:r>
          </a:p>
        </p:txBody>
      </p:sp>
      <p:pic>
        <p:nvPicPr>
          <p:cNvPr id="12" name="Picture 11">
            <a:extLst>
              <a:ext uri="{FF2B5EF4-FFF2-40B4-BE49-F238E27FC236}">
                <a16:creationId xmlns:a16="http://schemas.microsoft.com/office/drawing/2014/main" id="{D991C635-6AD1-4614-9E66-EA0B25557146}"/>
              </a:ext>
            </a:extLst>
          </p:cNvPr>
          <p:cNvPicPr>
            <a:picLocks noChangeAspect="1"/>
          </p:cNvPicPr>
          <p:nvPr/>
        </p:nvPicPr>
        <p:blipFill>
          <a:blip r:embed="rId3">
            <a:duotone>
              <a:schemeClr val="accent4">
                <a:shade val="45000"/>
                <a:satMod val="135000"/>
              </a:schemeClr>
              <a:prstClr val="white"/>
            </a:duotone>
            <a:extLst>
              <a:ext uri="{BEBA8EAE-BF5A-486C-A8C5-ECC9F3942E4B}">
                <a14:imgProps xmlns:a14="http://schemas.microsoft.com/office/drawing/2010/main">
                  <a14:imgLayer r:embed="rId4">
                    <a14:imgEffect>
                      <a14:colorTemperature colorTemp="4700"/>
                    </a14:imgEffect>
                  </a14:imgLayer>
                </a14:imgProps>
              </a:ext>
            </a:extLst>
          </a:blip>
          <a:stretch>
            <a:fillRect/>
          </a:stretch>
        </p:blipFill>
        <p:spPr>
          <a:xfrm>
            <a:off x="0" y="2017891"/>
            <a:ext cx="12192000" cy="3443880"/>
          </a:xfrm>
          <a:prstGeom prst="rect">
            <a:avLst/>
          </a:prstGeom>
          <a:solidFill>
            <a:srgbClr val="00B0F0"/>
          </a:solidFill>
        </p:spPr>
      </p:pic>
      <p:sp>
        <p:nvSpPr>
          <p:cNvPr id="3" name="Rectangle 2">
            <a:extLst>
              <a:ext uri="{FF2B5EF4-FFF2-40B4-BE49-F238E27FC236}">
                <a16:creationId xmlns:a16="http://schemas.microsoft.com/office/drawing/2014/main" id="{95C187F6-781C-4866-8ADF-C68A55F92E99}"/>
              </a:ext>
            </a:extLst>
          </p:cNvPr>
          <p:cNvSpPr/>
          <p:nvPr/>
        </p:nvSpPr>
        <p:spPr bwMode="auto">
          <a:xfrm>
            <a:off x="0" y="2017891"/>
            <a:ext cx="12192000" cy="344388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Box 3">
            <a:extLst>
              <a:ext uri="{FF2B5EF4-FFF2-40B4-BE49-F238E27FC236}">
                <a16:creationId xmlns:a16="http://schemas.microsoft.com/office/drawing/2014/main" id="{09414A7A-B227-41DC-83C9-FFFF2F2BEF92}"/>
              </a:ext>
            </a:extLst>
          </p:cNvPr>
          <p:cNvSpPr txBox="1"/>
          <p:nvPr/>
        </p:nvSpPr>
        <p:spPr>
          <a:xfrm>
            <a:off x="740780" y="4087291"/>
            <a:ext cx="1273215" cy="1203406"/>
          </a:xfrm>
          <a:prstGeom prst="rect">
            <a:avLst/>
          </a:prstGeom>
          <a:noFill/>
        </p:spPr>
        <p:txBody>
          <a:bodyPr wrap="square" lIns="182880" tIns="146304" rIns="182880" bIns="146304" rtlCol="0">
            <a:spAutoFit/>
          </a:bodyPr>
          <a:lstStyle/>
          <a:p>
            <a:pPr>
              <a:lnSpc>
                <a:spcPct val="90000"/>
              </a:lnSpc>
              <a:spcAft>
                <a:spcPts val="600"/>
              </a:spcAft>
            </a:pPr>
            <a:r>
              <a:rPr lang="en-IN" dirty="0">
                <a:solidFill>
                  <a:schemeClr val="bg1"/>
                </a:solidFill>
              </a:rPr>
              <a:t>Engage Students </a:t>
            </a:r>
          </a:p>
          <a:p>
            <a:pPr>
              <a:lnSpc>
                <a:spcPct val="90000"/>
              </a:lnSpc>
              <a:spcAft>
                <a:spcPts val="600"/>
              </a:spcAft>
            </a:pPr>
            <a:endParaRPr lang="en-IN" sz="2400" dirty="0" err="1">
              <a:solidFill>
                <a:schemeClr val="bg1"/>
              </a:solidFill>
            </a:endParaRPr>
          </a:p>
        </p:txBody>
      </p:sp>
      <p:sp>
        <p:nvSpPr>
          <p:cNvPr id="6" name="TextBox 5">
            <a:extLst>
              <a:ext uri="{FF2B5EF4-FFF2-40B4-BE49-F238E27FC236}">
                <a16:creationId xmlns:a16="http://schemas.microsoft.com/office/drawing/2014/main" id="{3325A44F-C7E8-4B29-8D83-FF9775340FBE}"/>
              </a:ext>
            </a:extLst>
          </p:cNvPr>
          <p:cNvSpPr txBox="1"/>
          <p:nvPr/>
        </p:nvSpPr>
        <p:spPr>
          <a:xfrm>
            <a:off x="3880320" y="4042922"/>
            <a:ext cx="1400537" cy="1181862"/>
          </a:xfrm>
          <a:prstGeom prst="rect">
            <a:avLst/>
          </a:prstGeom>
          <a:noFill/>
        </p:spPr>
        <p:txBody>
          <a:bodyPr wrap="square" lIns="182880" tIns="146304" rIns="182880" bIns="146304" rtlCol="0">
            <a:spAutoFit/>
          </a:bodyPr>
          <a:lstStyle/>
          <a:p>
            <a:r>
              <a:rPr lang="en-IN" dirty="0">
                <a:solidFill>
                  <a:schemeClr val="bg1"/>
                </a:solidFill>
              </a:rPr>
              <a:t>Empower Educators </a:t>
            </a:r>
          </a:p>
          <a:p>
            <a:pPr>
              <a:lnSpc>
                <a:spcPct val="90000"/>
              </a:lnSpc>
              <a:spcAft>
                <a:spcPts val="600"/>
              </a:spcAft>
            </a:pPr>
            <a:endParaRPr lang="en-IN" sz="2400" dirty="0" err="1">
              <a:solidFill>
                <a:schemeClr val="bg1"/>
              </a:solidFill>
            </a:endParaRPr>
          </a:p>
        </p:txBody>
      </p:sp>
      <p:sp>
        <p:nvSpPr>
          <p:cNvPr id="7" name="TextBox 6">
            <a:extLst>
              <a:ext uri="{FF2B5EF4-FFF2-40B4-BE49-F238E27FC236}">
                <a16:creationId xmlns:a16="http://schemas.microsoft.com/office/drawing/2014/main" id="{EEE0FAED-F0B7-47D2-906E-DEFBE41BEDA2}"/>
              </a:ext>
            </a:extLst>
          </p:cNvPr>
          <p:cNvSpPr txBox="1"/>
          <p:nvPr/>
        </p:nvSpPr>
        <p:spPr>
          <a:xfrm>
            <a:off x="6792410" y="4077277"/>
            <a:ext cx="1761281" cy="1181862"/>
          </a:xfrm>
          <a:prstGeom prst="rect">
            <a:avLst/>
          </a:prstGeom>
          <a:noFill/>
        </p:spPr>
        <p:txBody>
          <a:bodyPr wrap="square" lIns="182880" tIns="146304" rIns="182880" bIns="146304" rtlCol="0">
            <a:spAutoFit/>
          </a:bodyPr>
          <a:lstStyle/>
          <a:p>
            <a:r>
              <a:rPr lang="en-IN" dirty="0">
                <a:solidFill>
                  <a:schemeClr val="bg1"/>
                </a:solidFill>
              </a:rPr>
              <a:t>Optimize Institutions</a:t>
            </a:r>
          </a:p>
          <a:p>
            <a:pPr>
              <a:lnSpc>
                <a:spcPct val="90000"/>
              </a:lnSpc>
              <a:spcAft>
                <a:spcPts val="600"/>
              </a:spcAft>
            </a:pPr>
            <a:endParaRPr lang="en-IN" sz="2400" dirty="0" err="1">
              <a:solidFill>
                <a:schemeClr val="bg1"/>
              </a:solidFill>
            </a:endParaRPr>
          </a:p>
        </p:txBody>
      </p:sp>
      <p:sp>
        <p:nvSpPr>
          <p:cNvPr id="8" name="TextBox 7">
            <a:extLst>
              <a:ext uri="{FF2B5EF4-FFF2-40B4-BE49-F238E27FC236}">
                <a16:creationId xmlns:a16="http://schemas.microsoft.com/office/drawing/2014/main" id="{9DEBE26B-88FD-4306-A698-1D0D0E89D744}"/>
              </a:ext>
            </a:extLst>
          </p:cNvPr>
          <p:cNvSpPr txBox="1"/>
          <p:nvPr/>
        </p:nvSpPr>
        <p:spPr>
          <a:xfrm>
            <a:off x="9792182" y="4067627"/>
            <a:ext cx="1400537" cy="849463"/>
          </a:xfrm>
          <a:prstGeom prst="rect">
            <a:avLst/>
          </a:prstGeom>
          <a:noFill/>
        </p:spPr>
        <p:txBody>
          <a:bodyPr wrap="square" lIns="182880" tIns="146304" rIns="182880" bIns="146304" rtlCol="0">
            <a:spAutoFit/>
          </a:bodyPr>
          <a:lstStyle/>
          <a:p>
            <a:r>
              <a:rPr lang="en-IN" dirty="0">
                <a:solidFill>
                  <a:schemeClr val="bg1"/>
                </a:solidFill>
              </a:rPr>
              <a:t>Transform Learning </a:t>
            </a:r>
          </a:p>
        </p:txBody>
      </p:sp>
      <p:cxnSp>
        <p:nvCxnSpPr>
          <p:cNvPr id="9" name="Straight Connector 8">
            <a:extLst>
              <a:ext uri="{FF2B5EF4-FFF2-40B4-BE49-F238E27FC236}">
                <a16:creationId xmlns:a16="http://schemas.microsoft.com/office/drawing/2014/main" id="{3833735A-5D41-4C72-AB53-07A47A787570}"/>
              </a:ext>
            </a:extLst>
          </p:cNvPr>
          <p:cNvCxnSpPr/>
          <p:nvPr/>
        </p:nvCxnSpPr>
        <p:spPr>
          <a:xfrm>
            <a:off x="1064871" y="3356658"/>
            <a:ext cx="1001210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 name="Oval 9">
            <a:extLst>
              <a:ext uri="{FF2B5EF4-FFF2-40B4-BE49-F238E27FC236}">
                <a16:creationId xmlns:a16="http://schemas.microsoft.com/office/drawing/2014/main" id="{471F1B98-8F30-41A8-8CF3-EF5798CA83DC}"/>
              </a:ext>
            </a:extLst>
          </p:cNvPr>
          <p:cNvSpPr/>
          <p:nvPr/>
        </p:nvSpPr>
        <p:spPr bwMode="auto">
          <a:xfrm>
            <a:off x="740780" y="2824221"/>
            <a:ext cx="1273215" cy="127321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Oval 12">
            <a:extLst>
              <a:ext uri="{FF2B5EF4-FFF2-40B4-BE49-F238E27FC236}">
                <a16:creationId xmlns:a16="http://schemas.microsoft.com/office/drawing/2014/main" id="{29A884AD-B4AC-4303-8A7C-9ACE9824006E}"/>
              </a:ext>
            </a:extLst>
          </p:cNvPr>
          <p:cNvSpPr/>
          <p:nvPr/>
        </p:nvSpPr>
        <p:spPr bwMode="auto">
          <a:xfrm>
            <a:off x="3919960" y="2720050"/>
            <a:ext cx="1273215" cy="127321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Oval 13">
            <a:extLst>
              <a:ext uri="{FF2B5EF4-FFF2-40B4-BE49-F238E27FC236}">
                <a16:creationId xmlns:a16="http://schemas.microsoft.com/office/drawing/2014/main" id="{511381FD-C99B-45C7-9426-B5F83913FB3C}"/>
              </a:ext>
            </a:extLst>
          </p:cNvPr>
          <p:cNvSpPr/>
          <p:nvPr/>
        </p:nvSpPr>
        <p:spPr bwMode="auto">
          <a:xfrm>
            <a:off x="6861858" y="2720049"/>
            <a:ext cx="1273215" cy="127321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Oval 14">
            <a:extLst>
              <a:ext uri="{FF2B5EF4-FFF2-40B4-BE49-F238E27FC236}">
                <a16:creationId xmlns:a16="http://schemas.microsoft.com/office/drawing/2014/main" id="{5F3620FE-EFFB-4AB5-9060-20F230024487}"/>
              </a:ext>
            </a:extLst>
          </p:cNvPr>
          <p:cNvSpPr/>
          <p:nvPr/>
        </p:nvSpPr>
        <p:spPr bwMode="auto">
          <a:xfrm>
            <a:off x="10001491" y="2658133"/>
            <a:ext cx="1273215" cy="127321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6" name="Picture 15">
            <a:extLst>
              <a:ext uri="{FF2B5EF4-FFF2-40B4-BE49-F238E27FC236}">
                <a16:creationId xmlns:a16="http://schemas.microsoft.com/office/drawing/2014/main" id="{480C83CA-8407-4122-BA17-0D95CC78CFD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170576" y="3006379"/>
            <a:ext cx="794966" cy="687152"/>
          </a:xfrm>
          <a:prstGeom prst="rect">
            <a:avLst/>
          </a:prstGeom>
        </p:spPr>
      </p:pic>
      <p:pic>
        <p:nvPicPr>
          <p:cNvPr id="18" name="Picture 17">
            <a:extLst>
              <a:ext uri="{FF2B5EF4-FFF2-40B4-BE49-F238E27FC236}">
                <a16:creationId xmlns:a16="http://schemas.microsoft.com/office/drawing/2014/main" id="{45C75A73-F947-4F85-BA89-BAE4F0E33EE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96509" y="3238403"/>
            <a:ext cx="693396" cy="554716"/>
          </a:xfrm>
          <a:prstGeom prst="rect">
            <a:avLst/>
          </a:prstGeom>
        </p:spPr>
      </p:pic>
      <p:pic>
        <p:nvPicPr>
          <p:cNvPr id="20" name="Picture 19">
            <a:extLst>
              <a:ext uri="{FF2B5EF4-FFF2-40B4-BE49-F238E27FC236}">
                <a16:creationId xmlns:a16="http://schemas.microsoft.com/office/drawing/2014/main" id="{6656AC06-E26D-49FF-9937-39EEC6A90ED9}"/>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39649" y="2886611"/>
            <a:ext cx="776468" cy="776468"/>
          </a:xfrm>
          <a:prstGeom prst="rect">
            <a:avLst/>
          </a:prstGeom>
        </p:spPr>
      </p:pic>
      <p:pic>
        <p:nvPicPr>
          <p:cNvPr id="22" name="Picture 21">
            <a:extLst>
              <a:ext uri="{FF2B5EF4-FFF2-40B4-BE49-F238E27FC236}">
                <a16:creationId xmlns:a16="http://schemas.microsoft.com/office/drawing/2014/main" id="{03411C34-1C38-49A5-B8FD-E69B3158D1A9}"/>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310147" y="3069731"/>
            <a:ext cx="655901" cy="490645"/>
          </a:xfrm>
          <a:prstGeom prst="rect">
            <a:avLst/>
          </a:prstGeom>
        </p:spPr>
      </p:pic>
    </p:spTree>
    <p:extLst>
      <p:ext uri="{BB962C8B-B14F-4D97-AF65-F5344CB8AC3E}">
        <p14:creationId xmlns:p14="http://schemas.microsoft.com/office/powerpoint/2010/main" val="2988618350"/>
      </p:ext>
    </p:extLst>
  </p:cSld>
  <p:clrMapOvr>
    <a:masterClrMapping/>
  </p:clrMapOvr>
  <p:transition spd="slow">
    <p:push dir="u"/>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1389770" y="2159065"/>
            <a:ext cx="8745609" cy="4351214"/>
            <a:chOff x="239941" y="1645052"/>
            <a:chExt cx="8746850" cy="4351832"/>
          </a:xfrm>
        </p:grpSpPr>
        <p:grpSp>
          <p:nvGrpSpPr>
            <p:cNvPr id="10" name="Group 9"/>
            <p:cNvGrpSpPr/>
            <p:nvPr/>
          </p:nvGrpSpPr>
          <p:grpSpPr>
            <a:xfrm>
              <a:off x="6113842" y="1645052"/>
              <a:ext cx="2872949" cy="4351832"/>
              <a:chOff x="6113842" y="1645052"/>
              <a:chExt cx="2872949" cy="4351832"/>
            </a:xfrm>
          </p:grpSpPr>
          <p:pic>
            <p:nvPicPr>
              <p:cNvPr id="33" name="Picture 32"/>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6113842" y="1645052"/>
                <a:ext cx="2860037" cy="2308521"/>
              </a:xfrm>
              <a:prstGeom prst="rect">
                <a:avLst/>
              </a:prstGeom>
              <a:solidFill>
                <a:srgbClr val="C00000"/>
              </a:solidFill>
            </p:spPr>
          </p:pic>
          <p:grpSp>
            <p:nvGrpSpPr>
              <p:cNvPr id="2" name="Group 1"/>
              <p:cNvGrpSpPr/>
              <p:nvPr/>
            </p:nvGrpSpPr>
            <p:grpSpPr>
              <a:xfrm>
                <a:off x="6114767" y="3496819"/>
                <a:ext cx="2872024" cy="2500065"/>
                <a:chOff x="6111933" y="3496819"/>
                <a:chExt cx="2872024" cy="2500065"/>
              </a:xfrm>
            </p:grpSpPr>
            <p:sp>
              <p:nvSpPr>
                <p:cNvPr id="32" name="Rectangle 31"/>
                <p:cNvSpPr/>
                <p:nvPr/>
              </p:nvSpPr>
              <p:spPr>
                <a:xfrm>
                  <a:off x="6123922" y="3964436"/>
                  <a:ext cx="2860035" cy="2032448"/>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dirty="0">
                    <a:solidFill>
                      <a:srgbClr val="FFFFFF"/>
                    </a:solidFill>
                    <a:latin typeface="Segoe UI Semilight"/>
                  </a:endParaRPr>
                </a:p>
              </p:txBody>
            </p:sp>
            <p:sp>
              <p:nvSpPr>
                <p:cNvPr id="37" name="TextBox 36"/>
                <p:cNvSpPr txBox="1"/>
                <p:nvPr/>
              </p:nvSpPr>
              <p:spPr>
                <a:xfrm>
                  <a:off x="6111943" y="3496819"/>
                  <a:ext cx="1880316" cy="469039"/>
                </a:xfrm>
                <a:prstGeom prst="rect">
                  <a:avLst/>
                </a:prstGeom>
                <a:solidFill>
                  <a:srgbClr val="00B0F0"/>
                </a:solidFill>
              </p:spPr>
              <p:txBody>
                <a:bodyPr wrap="square" rtlCol="0">
                  <a:spAutoFit/>
                </a:bodyPr>
                <a:lstStyle/>
                <a:p>
                  <a:pPr defTabSz="914367"/>
                  <a:r>
                    <a:rPr lang="en-US" sz="2400" dirty="0">
                      <a:solidFill>
                        <a:schemeClr val="bg1"/>
                      </a:solidFill>
                      <a:latin typeface="Segoe UI" panose="020B0502040204020203" pitchFamily="34" charset="0"/>
                      <a:ea typeface="Segoe UI" panose="020B0502040204020203" pitchFamily="34" charset="0"/>
                      <a:cs typeface="Segoe UI" panose="020B0502040204020203" pitchFamily="34" charset="0"/>
                    </a:rPr>
                    <a:t>Facilities</a:t>
                  </a:r>
                </a:p>
              </p:txBody>
            </p:sp>
            <p:sp>
              <p:nvSpPr>
                <p:cNvPr id="41" name="TextBox 40"/>
                <p:cNvSpPr txBox="1"/>
                <p:nvPr/>
              </p:nvSpPr>
              <p:spPr>
                <a:xfrm>
                  <a:off x="6111933" y="4011516"/>
                  <a:ext cx="2833353" cy="1938288"/>
                </a:xfrm>
                <a:prstGeom prst="rect">
                  <a:avLst/>
                </a:prstGeom>
                <a:solidFill>
                  <a:srgbClr val="00B0F0"/>
                </a:solidFill>
                <a:ln>
                  <a:solidFill>
                    <a:srgbClr val="00B0F0"/>
                  </a:solidFill>
                </a:ln>
              </p:spPr>
              <p:txBody>
                <a:bodyPr wrap="square" rtlCol="0" anchor="t">
                  <a:spAutoFit/>
                </a:bodyPr>
                <a:lstStyle/>
                <a:p>
                  <a:pPr defTabSz="914367">
                    <a:spcAft>
                      <a:spcPts val="1200"/>
                    </a:spcAft>
                    <a:buSzPct val="80000"/>
                  </a:pPr>
                  <a:r>
                    <a:rPr lang="en-US" sz="1400" dirty="0">
                      <a:solidFill>
                        <a:srgbClr val="FFFFFF"/>
                      </a:solidFill>
                      <a:latin typeface="Segoe UI" panose="020B0502040204020203" pitchFamily="34" charset="0"/>
                      <a:ea typeface="Segoe UI" panose="020B0502040204020203" pitchFamily="34" charset="0"/>
                      <a:cs typeface="Segoe UI" panose="020B0502040204020203" pitchFamily="34" charset="0"/>
                    </a:rPr>
                    <a:t>Consolidate all projects and service requests to better manage facilities maintenance</a:t>
                  </a:r>
                </a:p>
                <a:p>
                  <a:pPr defTabSz="914367">
                    <a:spcAft>
                      <a:spcPts val="1200"/>
                    </a:spcAft>
                    <a:buSzPct val="80000"/>
                  </a:pPr>
                  <a:r>
                    <a:rPr lang="en-US" sz="1400" dirty="0">
                      <a:solidFill>
                        <a:srgbClr val="FFFFFF"/>
                      </a:solidFill>
                      <a:latin typeface="Segoe UI" panose="020B0502040204020203" pitchFamily="34" charset="0"/>
                      <a:ea typeface="Segoe UI" panose="020B0502040204020203" pitchFamily="34" charset="0"/>
                      <a:cs typeface="Segoe UI" panose="020B0502040204020203" pitchFamily="34" charset="0"/>
                    </a:rPr>
                    <a:t>Use data to deliver proactive, cost-effective maintenance</a:t>
                  </a:r>
                </a:p>
                <a:p>
                  <a:pPr defTabSz="914367">
                    <a:spcAft>
                      <a:spcPts val="1200"/>
                    </a:spcAft>
                    <a:buSzPct val="80000"/>
                  </a:pPr>
                  <a:r>
                    <a:rPr lang="en-US" sz="1400" dirty="0">
                      <a:solidFill>
                        <a:srgbClr val="FFFFFF"/>
                      </a:solidFill>
                      <a:latin typeface="Segoe UI" panose="020B0502040204020203" pitchFamily="34" charset="0"/>
                      <a:ea typeface="Segoe UI" panose="020B0502040204020203" pitchFamily="34" charset="0"/>
                      <a:cs typeface="Segoe UI" panose="020B0502040204020203" pitchFamily="34" charset="0"/>
                    </a:rPr>
                    <a:t>Connect staff across distant facilities</a:t>
                  </a:r>
                </a:p>
              </p:txBody>
            </p:sp>
          </p:grpSp>
        </p:grpSp>
        <p:grpSp>
          <p:nvGrpSpPr>
            <p:cNvPr id="9" name="Group 8"/>
            <p:cNvGrpSpPr/>
            <p:nvPr/>
          </p:nvGrpSpPr>
          <p:grpSpPr>
            <a:xfrm>
              <a:off x="3165998" y="1645052"/>
              <a:ext cx="2860048" cy="4340970"/>
              <a:chOff x="3164425" y="1645052"/>
              <a:chExt cx="2860048" cy="4340970"/>
            </a:xfrm>
          </p:grpSpPr>
          <p:pic>
            <p:nvPicPr>
              <p:cNvPr id="31" name="Picture 30"/>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3164425" y="1645052"/>
                <a:ext cx="2858121" cy="2308521"/>
              </a:xfrm>
              <a:prstGeom prst="rect">
                <a:avLst/>
              </a:prstGeom>
              <a:solidFill>
                <a:srgbClr val="C00000"/>
              </a:solidFill>
            </p:spPr>
          </p:pic>
          <p:sp>
            <p:nvSpPr>
              <p:cNvPr id="45" name="Rectangle 44"/>
              <p:cNvSpPr/>
              <p:nvPr/>
            </p:nvSpPr>
            <p:spPr>
              <a:xfrm>
                <a:off x="3164438" y="3953574"/>
                <a:ext cx="2860035" cy="2032448"/>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dirty="0">
                  <a:solidFill>
                    <a:srgbClr val="FFFFFF"/>
                  </a:solidFill>
                  <a:latin typeface="Segoe UI Semilight"/>
                </a:endParaRPr>
              </a:p>
            </p:txBody>
          </p:sp>
          <p:sp>
            <p:nvSpPr>
              <p:cNvPr id="47" name="TextBox 46"/>
              <p:cNvSpPr txBox="1"/>
              <p:nvPr/>
            </p:nvSpPr>
            <p:spPr>
              <a:xfrm>
                <a:off x="3165354" y="3496819"/>
                <a:ext cx="2193853" cy="469039"/>
              </a:xfrm>
              <a:prstGeom prst="rect">
                <a:avLst/>
              </a:prstGeom>
              <a:solidFill>
                <a:srgbClr val="00B0F0"/>
              </a:solidFill>
            </p:spPr>
            <p:txBody>
              <a:bodyPr wrap="square" rtlCol="0">
                <a:spAutoFit/>
              </a:bodyPr>
              <a:lstStyle/>
              <a:p>
                <a:pPr defTabSz="914367"/>
                <a:r>
                  <a:rPr lang="en-US" sz="2400" dirty="0">
                    <a:solidFill>
                      <a:schemeClr val="bg1"/>
                    </a:solidFill>
                    <a:latin typeface="Segoe UI" panose="020B0502040204020203" pitchFamily="34" charset="0"/>
                    <a:cs typeface="Segoe UI" panose="020B0502040204020203" pitchFamily="34" charset="0"/>
                  </a:rPr>
                  <a:t>Counselors</a:t>
                </a:r>
              </a:p>
            </p:txBody>
          </p:sp>
          <p:sp>
            <p:nvSpPr>
              <p:cNvPr id="48" name="TextBox 47"/>
              <p:cNvSpPr txBox="1"/>
              <p:nvPr/>
            </p:nvSpPr>
            <p:spPr>
              <a:xfrm>
                <a:off x="3165354" y="4011516"/>
                <a:ext cx="2833353" cy="1469553"/>
              </a:xfrm>
              <a:prstGeom prst="rect">
                <a:avLst/>
              </a:prstGeom>
              <a:solidFill>
                <a:srgbClr val="00B0F0"/>
              </a:solidFill>
            </p:spPr>
            <p:txBody>
              <a:bodyPr wrap="square" rtlCol="0" anchor="t">
                <a:spAutoFit/>
              </a:bodyPr>
              <a:lstStyle/>
              <a:p>
                <a:pPr defTabSz="914367">
                  <a:spcAft>
                    <a:spcPts val="1200"/>
                  </a:spcAft>
                  <a:buSzPct val="80000"/>
                </a:pPr>
                <a:r>
                  <a:rPr lang="en-US" sz="1400" dirty="0">
                    <a:solidFill>
                      <a:srgbClr val="FFFFFF"/>
                    </a:solidFill>
                    <a:latin typeface="Segoe UI" panose="020B0502040204020203" pitchFamily="34" charset="0"/>
                    <a:ea typeface="Segoe UI" panose="020B0502040204020203" pitchFamily="34" charset="0"/>
                    <a:cs typeface="Segoe UI" panose="020B0502040204020203" pitchFamily="34" charset="0"/>
                  </a:rPr>
                  <a:t>Provide always-on education</a:t>
                </a:r>
              </a:p>
              <a:p>
                <a:pPr defTabSz="914367">
                  <a:spcAft>
                    <a:spcPts val="1200"/>
                  </a:spcAft>
                  <a:buSzPct val="80000"/>
                </a:pPr>
                <a:r>
                  <a:rPr lang="en-US" sz="1400" dirty="0">
                    <a:solidFill>
                      <a:srgbClr val="FFFFFF"/>
                    </a:solidFill>
                    <a:latin typeface="Segoe UI" panose="020B0502040204020203" pitchFamily="34" charset="0"/>
                    <a:ea typeface="Segoe UI" panose="020B0502040204020203" pitchFamily="34" charset="0"/>
                    <a:cs typeface="Segoe UI" panose="020B0502040204020203" pitchFamily="34" charset="0"/>
                  </a:rPr>
                  <a:t>Protect information without sacrificing communications</a:t>
                </a:r>
              </a:p>
              <a:p>
                <a:pPr defTabSz="914367">
                  <a:spcAft>
                    <a:spcPts val="1200"/>
                  </a:spcAft>
                  <a:buSzPct val="80000"/>
                </a:pPr>
                <a:r>
                  <a:rPr lang="en-US" sz="1400" dirty="0">
                    <a:solidFill>
                      <a:srgbClr val="FFFFFF"/>
                    </a:solidFill>
                    <a:latin typeface="Segoe UI" panose="020B0502040204020203" pitchFamily="34" charset="0"/>
                    <a:ea typeface="Segoe UI" panose="020B0502040204020203" pitchFamily="34" charset="0"/>
                    <a:cs typeface="Segoe UI" panose="020B0502040204020203" pitchFamily="34" charset="0"/>
                  </a:rPr>
                  <a:t>Develop meaningful relationships with alumni and other donors</a:t>
                </a:r>
              </a:p>
            </p:txBody>
          </p:sp>
        </p:grpSp>
        <p:grpSp>
          <p:nvGrpSpPr>
            <p:cNvPr id="7" name="Group 6"/>
            <p:cNvGrpSpPr/>
            <p:nvPr/>
          </p:nvGrpSpPr>
          <p:grpSpPr>
            <a:xfrm>
              <a:off x="239941" y="1645052"/>
              <a:ext cx="2861950" cy="4340970"/>
              <a:chOff x="239941" y="1645052"/>
              <a:chExt cx="2861950" cy="4340970"/>
            </a:xfrm>
          </p:grpSpPr>
          <p:pic>
            <p:nvPicPr>
              <p:cNvPr id="3" name="Picture 2"/>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239941" y="1645052"/>
                <a:ext cx="2859412" cy="2309987"/>
              </a:xfrm>
              <a:prstGeom prst="rect">
                <a:avLst/>
              </a:prstGeom>
              <a:solidFill>
                <a:srgbClr val="C00000"/>
              </a:solidFill>
            </p:spPr>
          </p:pic>
          <p:sp>
            <p:nvSpPr>
              <p:cNvPr id="58" name="Rectangle 57"/>
              <p:cNvSpPr/>
              <p:nvPr/>
            </p:nvSpPr>
            <p:spPr>
              <a:xfrm>
                <a:off x="239941" y="3953574"/>
                <a:ext cx="2860035" cy="2032448"/>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dirty="0">
                  <a:solidFill>
                    <a:srgbClr val="FFFFFF"/>
                  </a:solidFill>
                  <a:latin typeface="Segoe UI Semilight"/>
                </a:endParaRPr>
              </a:p>
            </p:txBody>
          </p:sp>
          <p:sp>
            <p:nvSpPr>
              <p:cNvPr id="59" name="Rectangle 58"/>
              <p:cNvSpPr/>
              <p:nvPr/>
            </p:nvSpPr>
            <p:spPr bwMode="auto">
              <a:xfrm rot="16200000">
                <a:off x="1340421" y="2192102"/>
                <a:ext cx="662906" cy="2860035"/>
              </a:xfrm>
              <a:prstGeom prst="rect">
                <a:avLst/>
              </a:prstGeom>
              <a:gradFill flip="none" rotWithShape="1">
                <a:gsLst>
                  <a:gs pos="25000">
                    <a:srgbClr val="000000">
                      <a:alpha val="63000"/>
                    </a:srgbClr>
                  </a:gs>
                  <a:gs pos="100000">
                    <a:srgbClr val="000000">
                      <a:alpha val="0"/>
                    </a:srgbClr>
                  </a:gs>
                </a:gsLst>
                <a:lin ang="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16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0" name="TextBox 59"/>
              <p:cNvSpPr txBox="1"/>
              <p:nvPr/>
            </p:nvSpPr>
            <p:spPr>
              <a:xfrm>
                <a:off x="242776" y="3496819"/>
                <a:ext cx="2169226" cy="459884"/>
              </a:xfrm>
              <a:prstGeom prst="rect">
                <a:avLst/>
              </a:prstGeom>
              <a:solidFill>
                <a:srgbClr val="00B0F0"/>
              </a:solidFill>
            </p:spPr>
            <p:txBody>
              <a:bodyPr wrap="square" rtlCol="0">
                <a:spAutoFit/>
              </a:bodyPr>
              <a:lstStyle>
                <a:defPPr>
                  <a:defRPr lang="en-US"/>
                </a:defPPr>
                <a:lvl1pPr>
                  <a:defRPr sz="2400">
                    <a:solidFill>
                      <a:schemeClr val="bg1"/>
                    </a:solidFill>
                    <a:latin typeface="Segoe UI" panose="020B0502040204020203" pitchFamily="34" charset="0"/>
                    <a:cs typeface="Segoe UI" panose="020B0502040204020203" pitchFamily="34" charset="0"/>
                  </a:defRPr>
                </a:lvl1pPr>
              </a:lstStyle>
              <a:p>
                <a:r>
                  <a:rPr lang="en-US" dirty="0"/>
                  <a:t>Administrators</a:t>
                </a:r>
              </a:p>
            </p:txBody>
          </p:sp>
          <p:sp>
            <p:nvSpPr>
              <p:cNvPr id="61" name="TextBox 60"/>
              <p:cNvSpPr txBox="1"/>
              <p:nvPr/>
            </p:nvSpPr>
            <p:spPr>
              <a:xfrm>
                <a:off x="242780" y="4011516"/>
                <a:ext cx="2833353" cy="1835888"/>
              </a:xfrm>
              <a:prstGeom prst="rect">
                <a:avLst/>
              </a:prstGeom>
              <a:solidFill>
                <a:srgbClr val="00B0F0"/>
              </a:solidFill>
            </p:spPr>
            <p:txBody>
              <a:bodyPr wrap="square" rtlCol="0" anchor="t">
                <a:spAutoFit/>
              </a:bodyPr>
              <a:lstStyle/>
              <a:p>
                <a:pPr defTabSz="914367">
                  <a:spcAft>
                    <a:spcPts val="1200"/>
                  </a:spcAft>
                  <a:buSzPct val="80000"/>
                </a:pPr>
                <a:r>
                  <a:rPr lang="en-US" sz="1400" dirty="0">
                    <a:solidFill>
                      <a:srgbClr val="FFFFFF"/>
                    </a:solidFill>
                    <a:latin typeface="Segoe UI" panose="020B0502040204020203" pitchFamily="34" charset="0"/>
                    <a:ea typeface="Segoe UI" panose="020B0502040204020203" pitchFamily="34" charset="0"/>
                    <a:cs typeface="Segoe UI" panose="020B0502040204020203" pitchFamily="34" charset="0"/>
                  </a:rPr>
                  <a:t>All up dashboard view across the school district </a:t>
                </a:r>
              </a:p>
              <a:p>
                <a:pPr defTabSz="914367">
                  <a:spcAft>
                    <a:spcPts val="1200"/>
                  </a:spcAft>
                  <a:buSzPct val="80000"/>
                </a:pPr>
                <a:r>
                  <a:rPr lang="en-US" sz="1400" dirty="0">
                    <a:solidFill>
                      <a:srgbClr val="FFFFFF"/>
                    </a:solidFill>
                    <a:latin typeface="Segoe UI" panose="020B0502040204020203" pitchFamily="34" charset="0"/>
                    <a:ea typeface="Segoe UI" panose="020B0502040204020203" pitchFamily="34" charset="0"/>
                    <a:cs typeface="Segoe UI" panose="020B0502040204020203" pitchFamily="34" charset="0"/>
                  </a:rPr>
                  <a:t>Driving cost effective education</a:t>
                </a:r>
              </a:p>
              <a:p>
                <a:pPr defTabSz="914367">
                  <a:spcAft>
                    <a:spcPts val="1200"/>
                  </a:spcAft>
                  <a:buSzPct val="80000"/>
                </a:pPr>
                <a:r>
                  <a:rPr lang="en-US" sz="1400" dirty="0">
                    <a:solidFill>
                      <a:srgbClr val="FFFFFF"/>
                    </a:solidFill>
                    <a:latin typeface="Segoe UI" panose="020B0502040204020203" pitchFamily="34" charset="0"/>
                    <a:ea typeface="Segoe UI" panose="020B0502040204020203" pitchFamily="34" charset="0"/>
                    <a:cs typeface="Segoe UI" panose="020B0502040204020203" pitchFamily="34" charset="0"/>
                  </a:rPr>
                  <a:t>Improving Student outcomes</a:t>
                </a:r>
              </a:p>
              <a:p>
                <a:pPr defTabSz="914367">
                  <a:spcAft>
                    <a:spcPts val="1200"/>
                  </a:spcAft>
                  <a:buSzPct val="80000"/>
                </a:pPr>
                <a:r>
                  <a:rPr lang="en-US" sz="1400" dirty="0">
                    <a:solidFill>
                      <a:srgbClr val="FFFFFF"/>
                    </a:solidFill>
                    <a:latin typeface="Segoe UI" panose="020B0502040204020203" pitchFamily="34" charset="0"/>
                    <a:ea typeface="Segoe UI" panose="020B0502040204020203" pitchFamily="34" charset="0"/>
                    <a:cs typeface="Segoe UI" panose="020B0502040204020203" pitchFamily="34" charset="0"/>
                  </a:rPr>
                  <a:t>Develop data-driven learning plans</a:t>
                </a:r>
              </a:p>
            </p:txBody>
          </p:sp>
        </p:grpSp>
      </p:grpSp>
      <p:sp>
        <p:nvSpPr>
          <p:cNvPr id="34" name="Rectangle 33"/>
          <p:cNvSpPr/>
          <p:nvPr/>
        </p:nvSpPr>
        <p:spPr>
          <a:xfrm>
            <a:off x="866" y="-21404"/>
            <a:ext cx="12190271" cy="832266"/>
          </a:xfrm>
          <a:prstGeom prst="rect">
            <a:avLst/>
          </a:prstGeom>
          <a:solidFill>
            <a:schemeClr val="tx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052"/>
            <a:endParaRPr lang="en-US" dirty="0">
              <a:solidFill>
                <a:srgbClr val="E4DED8"/>
              </a:solidFill>
              <a:latin typeface="Segoe UI Semilight"/>
            </a:endParaRPr>
          </a:p>
        </p:txBody>
      </p:sp>
      <p:sp>
        <p:nvSpPr>
          <p:cNvPr id="35" name="Title 1"/>
          <p:cNvSpPr txBox="1">
            <a:spLocks/>
          </p:cNvSpPr>
          <p:nvPr/>
        </p:nvSpPr>
        <p:spPr>
          <a:xfrm>
            <a:off x="-724" y="-4713"/>
            <a:ext cx="11950994" cy="822954"/>
          </a:xfrm>
          <a:prstGeom prst="rect">
            <a:avLst/>
          </a:prstGeom>
          <a:effectLst/>
        </p:spPr>
        <p:txBody>
          <a:bodyPr lIns="319994" tIns="45704" rIns="91411" bIns="45704" anchor="ctr"/>
          <a:lstStyle>
            <a:lvl1pPr algn="ctr" defTabSz="914400" rtl="0" eaLnBrk="1" latinLnBrk="0" hangingPunct="1">
              <a:lnSpc>
                <a:spcPts val="3800"/>
              </a:lnSpc>
              <a:spcBef>
                <a:spcPct val="0"/>
              </a:spcBef>
              <a:buNone/>
              <a:defRPr sz="2800" b="1" i="1" kern="1200" spc="300" baseline="0">
                <a:solidFill>
                  <a:schemeClr val="accent3"/>
                </a:solidFill>
                <a:latin typeface="+mn-lt"/>
                <a:ea typeface="+mj-ea"/>
                <a:cs typeface="+mj-cs"/>
              </a:defRPr>
            </a:lvl1pPr>
          </a:lstStyle>
          <a:p>
            <a:pPr algn="l" defTabSz="896386">
              <a:lnSpc>
                <a:spcPts val="3500"/>
              </a:lnSpc>
            </a:pPr>
            <a:r>
              <a:rPr lang="en-US" sz="2000" i="0" kern="900" spc="294" dirty="0">
                <a:solidFill>
                  <a:srgbClr val="FFFFFF"/>
                </a:solidFill>
                <a:latin typeface="Segoe UI Semilight"/>
              </a:rPr>
              <a:t>Driving Institutional Effectiveness</a:t>
            </a:r>
          </a:p>
        </p:txBody>
      </p:sp>
      <p:sp>
        <p:nvSpPr>
          <p:cNvPr id="40" name="Text Placeholder 4"/>
          <p:cNvSpPr txBox="1">
            <a:spLocks/>
          </p:cNvSpPr>
          <p:nvPr/>
        </p:nvSpPr>
        <p:spPr>
          <a:xfrm>
            <a:off x="616221" y="1536910"/>
            <a:ext cx="11956315" cy="572280"/>
          </a:xfrm>
          <a:prstGeom prst="rect">
            <a:avLst/>
          </a:prstGeom>
        </p:spPr>
        <p:txBody>
          <a:bodyPr lIns="319994"/>
          <a:lstStyle>
            <a:lvl1pPr marL="0" indent="0" algn="l" defTabSz="1088105"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pPr defTabSz="1066669">
              <a:spcBef>
                <a:spcPts val="1765"/>
              </a:spcBef>
            </a:pPr>
            <a:r>
              <a:rPr lang="en-US" sz="2399" dirty="0">
                <a:solidFill>
                  <a:schemeClr val="tx1"/>
                </a:solidFill>
                <a:latin typeface="Segoe UI Light" pitchFamily="34" charset="0"/>
              </a:rPr>
              <a:t>Create dynamic institutions that inspire students to consume, create knowledge </a:t>
            </a:r>
          </a:p>
        </p:txBody>
      </p:sp>
    </p:spTree>
    <p:extLst>
      <p:ext uri="{BB962C8B-B14F-4D97-AF65-F5344CB8AC3E}">
        <p14:creationId xmlns:p14="http://schemas.microsoft.com/office/powerpoint/2010/main" val="783327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7664544" y="559727"/>
            <a:ext cx="3920902" cy="4254342"/>
          </a:xfrm>
          <a:prstGeom prst="rect">
            <a:avLst/>
          </a:prstGeom>
        </p:spPr>
        <p:txBody>
          <a:bodyPr wrap="square">
            <a:spAutoFit/>
          </a:bodyPr>
          <a:lstStyle/>
          <a:p>
            <a:pPr>
              <a:spcAft>
                <a:spcPts val="2941"/>
              </a:spcAft>
            </a:pPr>
            <a:r>
              <a:rPr lang="en-US" sz="1765" kern="0" dirty="0">
                <a:latin typeface="Segoe UI Light" charset="0"/>
                <a:cs typeface="Segoe UI Light" charset="0"/>
              </a:rPr>
              <a:t>Counselors have difficulty catering to ever increasing needs of students and suffer from ever -increasing workloads </a:t>
            </a:r>
            <a:endParaRPr lang="en-US" sz="1765" kern="0" dirty="0">
              <a:latin typeface="Segoe UI Light" charset="0"/>
              <a:ea typeface="Segoe UI Light" charset="0"/>
              <a:cs typeface="Segoe UI Light" charset="0"/>
            </a:endParaRPr>
          </a:p>
          <a:p>
            <a:pPr>
              <a:spcAft>
                <a:spcPts val="588"/>
              </a:spcAft>
            </a:pPr>
            <a:r>
              <a:rPr lang="en-US" sz="1765" kern="0" dirty="0">
                <a:latin typeface="Segoe UI Light" charset="0"/>
                <a:ea typeface="Segoe UI Light" charset="0"/>
                <a:cs typeface="Segoe UI Light" charset="0"/>
              </a:rPr>
              <a:t>Build early prevention activities for </a:t>
            </a:r>
            <a:br>
              <a:rPr lang="en-US" sz="1765" kern="0" dirty="0">
                <a:latin typeface="Segoe UI Light" charset="0"/>
                <a:ea typeface="Segoe UI Light" charset="0"/>
                <a:cs typeface="Segoe UI Light" charset="0"/>
              </a:rPr>
            </a:br>
            <a:r>
              <a:rPr lang="en-US" sz="1765" kern="0" dirty="0">
                <a:latin typeface="Segoe UI Light" charset="0"/>
                <a:ea typeface="Segoe UI Light" charset="0"/>
                <a:cs typeface="Segoe UI Light" charset="0"/>
              </a:rPr>
              <a:t>at-risk students</a:t>
            </a:r>
          </a:p>
          <a:p>
            <a:pPr>
              <a:spcAft>
                <a:spcPts val="588"/>
              </a:spcAft>
            </a:pPr>
            <a:endParaRPr lang="en-US" sz="1765" kern="0" dirty="0">
              <a:latin typeface="Segoe UI Light" charset="0"/>
              <a:ea typeface="Segoe UI Light" charset="0"/>
              <a:cs typeface="Segoe UI Light" charset="0"/>
            </a:endParaRPr>
          </a:p>
          <a:p>
            <a:pPr>
              <a:spcAft>
                <a:spcPts val="2941"/>
              </a:spcAft>
            </a:pPr>
            <a:r>
              <a:rPr lang="en-US" sz="1765" kern="0" dirty="0">
                <a:latin typeface="Segoe UI Light" charset="0"/>
                <a:ea typeface="Segoe UI Light" charset="0"/>
                <a:cs typeface="Segoe UI Light" charset="0"/>
              </a:rPr>
              <a:t>Determine which concepts a student has mastered and which concepts they struggle with</a:t>
            </a:r>
          </a:p>
          <a:p>
            <a:pPr>
              <a:spcAft>
                <a:spcPts val="2941"/>
              </a:spcAft>
            </a:pPr>
            <a:r>
              <a:rPr lang="en-US" sz="1765" kern="0" dirty="0">
                <a:latin typeface="Segoe UI Light" charset="0"/>
                <a:ea typeface="Segoe UI Light" charset="0"/>
                <a:cs typeface="Segoe UI Light" charset="0"/>
              </a:rPr>
              <a:t>Counselors can scale up easily by getting an all up view into a student career progression</a:t>
            </a:r>
          </a:p>
        </p:txBody>
      </p:sp>
      <p:sp>
        <p:nvSpPr>
          <p:cNvPr id="18" name="Title 4"/>
          <p:cNvSpPr txBox="1">
            <a:spLocks/>
          </p:cNvSpPr>
          <p:nvPr/>
        </p:nvSpPr>
        <p:spPr>
          <a:xfrm>
            <a:off x="635314" y="2892372"/>
            <a:ext cx="5879775" cy="1158629"/>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313" spc="0" dirty="0">
                <a:solidFill>
                  <a:schemeClr val="tx1"/>
                </a:solidFill>
                <a:latin typeface="Segoe UI Light" charset="0"/>
                <a:ea typeface="Segoe UI Light" charset="0"/>
                <a:cs typeface="Segoe UI Light" charset="0"/>
              </a:rPr>
              <a:t>Drive Student Engagement</a:t>
            </a:r>
          </a:p>
        </p:txBody>
      </p:sp>
      <p:sp>
        <p:nvSpPr>
          <p:cNvPr id="3" name="TextBox 2">
            <a:extLst>
              <a:ext uri="{FF2B5EF4-FFF2-40B4-BE49-F238E27FC236}">
                <a16:creationId xmlns:a16="http://schemas.microsoft.com/office/drawing/2014/main" id="{F92FF2FB-3E25-4DAF-8874-D444605B2659}"/>
              </a:ext>
            </a:extLst>
          </p:cNvPr>
          <p:cNvSpPr txBox="1"/>
          <p:nvPr/>
        </p:nvSpPr>
        <p:spPr>
          <a:xfrm>
            <a:off x="3169179" y="5360998"/>
            <a:ext cx="8647331" cy="1342682"/>
          </a:xfrm>
          <a:prstGeom prst="rect">
            <a:avLst/>
          </a:prstGeom>
          <a:noFill/>
        </p:spPr>
        <p:txBody>
          <a:bodyPr wrap="square" lIns="179285" tIns="143428" rIns="179285" bIns="143428" rtlCol="0">
            <a:spAutoFit/>
          </a:bodyPr>
          <a:lstStyle/>
          <a:p>
            <a:pPr>
              <a:lnSpc>
                <a:spcPct val="90000"/>
              </a:lnSpc>
              <a:spcAft>
                <a:spcPts val="588"/>
              </a:spcAft>
            </a:pPr>
            <a:r>
              <a:rPr lang="en-US" sz="2353" kern="0" dirty="0">
                <a:latin typeface="Segoe UI Light" charset="0"/>
                <a:ea typeface="Segoe UI Light" charset="0"/>
                <a:cs typeface="Segoe UI Light" charset="0"/>
              </a:rPr>
              <a:t>Develop a self-service career counselor BOT that personalizes career plans to drive student engagement</a:t>
            </a:r>
          </a:p>
          <a:p>
            <a:pPr>
              <a:lnSpc>
                <a:spcPct val="90000"/>
              </a:lnSpc>
              <a:spcAft>
                <a:spcPts val="588"/>
              </a:spcAft>
            </a:pPr>
            <a:endParaRPr lang="en-US" sz="2353" dirty="0">
              <a:gradFill>
                <a:gsLst>
                  <a:gs pos="2917">
                    <a:schemeClr val="tx1"/>
                  </a:gs>
                  <a:gs pos="30000">
                    <a:schemeClr val="tx1"/>
                  </a:gs>
                </a:gsLst>
                <a:lin ang="5400000" scaled="0"/>
              </a:gradFill>
            </a:endParaRPr>
          </a:p>
        </p:txBody>
      </p:sp>
      <p:cxnSp>
        <p:nvCxnSpPr>
          <p:cNvPr id="6" name="Straight Connector 5">
            <a:extLst>
              <a:ext uri="{FF2B5EF4-FFF2-40B4-BE49-F238E27FC236}">
                <a16:creationId xmlns:a16="http://schemas.microsoft.com/office/drawing/2014/main" id="{4649555D-5E75-4611-B09C-4725B4A4A4BA}"/>
              </a:ext>
            </a:extLst>
          </p:cNvPr>
          <p:cNvCxnSpPr/>
          <p:nvPr/>
        </p:nvCxnSpPr>
        <p:spPr>
          <a:xfrm>
            <a:off x="899722" y="4814068"/>
            <a:ext cx="10192403"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3E5E303E-0784-44A6-875C-B5A4FC76C9D1}"/>
              </a:ext>
            </a:extLst>
          </p:cNvPr>
          <p:cNvSpPr txBox="1"/>
          <p:nvPr/>
        </p:nvSpPr>
        <p:spPr>
          <a:xfrm>
            <a:off x="899722" y="4877594"/>
            <a:ext cx="1638918" cy="615522"/>
          </a:xfrm>
          <a:prstGeom prst="rect">
            <a:avLst/>
          </a:prstGeom>
          <a:noFill/>
        </p:spPr>
        <p:txBody>
          <a:bodyPr wrap="square" lIns="179285" tIns="143428" rIns="179285" bIns="143428" rtlCol="0">
            <a:spAutoFit/>
          </a:bodyPr>
          <a:lstStyle/>
          <a:p>
            <a:pPr>
              <a:lnSpc>
                <a:spcPct val="90000"/>
              </a:lnSpc>
              <a:spcAft>
                <a:spcPts val="588"/>
              </a:spcAft>
            </a:pPr>
            <a:r>
              <a:rPr lang="en-US" sz="2353" dirty="0">
                <a:gradFill>
                  <a:gsLst>
                    <a:gs pos="2917">
                      <a:schemeClr val="tx1"/>
                    </a:gs>
                    <a:gs pos="30000">
                      <a:schemeClr val="tx1"/>
                    </a:gs>
                  </a:gsLst>
                  <a:lin ang="5400000" scaled="0"/>
                </a:gradFill>
              </a:rPr>
              <a:t>Solution</a:t>
            </a:r>
          </a:p>
        </p:txBody>
      </p:sp>
      <p:pic>
        <p:nvPicPr>
          <p:cNvPr id="14" name="Picture 13">
            <a:extLst>
              <a:ext uri="{FF2B5EF4-FFF2-40B4-BE49-F238E27FC236}">
                <a16:creationId xmlns:a16="http://schemas.microsoft.com/office/drawing/2014/main" id="{ABE321B2-3DD0-400C-9CB3-C2AFA8DFF011}"/>
              </a:ext>
            </a:extLst>
          </p:cNvPr>
          <p:cNvPicPr>
            <a:picLocks noChangeAspect="1"/>
          </p:cNvPicPr>
          <p:nvPr/>
        </p:nvPicPr>
        <p:blipFill rotWithShape="1">
          <a:blip r:embed="rId3" cstate="print">
            <a:grayscl/>
            <a:extLst>
              <a:ext uri="{28A0092B-C50C-407E-A947-70E740481C1C}">
                <a14:useLocalDpi xmlns:a14="http://schemas.microsoft.com/office/drawing/2010/main" val="0"/>
              </a:ext>
            </a:extLst>
          </a:blip>
          <a:srcRect/>
          <a:stretch/>
        </p:blipFill>
        <p:spPr>
          <a:xfrm>
            <a:off x="1524141" y="584179"/>
            <a:ext cx="2857716" cy="2308193"/>
          </a:xfrm>
          <a:prstGeom prst="rect">
            <a:avLst/>
          </a:prstGeom>
        </p:spPr>
      </p:pic>
      <p:sp>
        <p:nvSpPr>
          <p:cNvPr id="17" name="TextBox 16">
            <a:extLst>
              <a:ext uri="{FF2B5EF4-FFF2-40B4-BE49-F238E27FC236}">
                <a16:creationId xmlns:a16="http://schemas.microsoft.com/office/drawing/2014/main" id="{81454D37-C702-4147-AC57-A4E9D04E6752}"/>
              </a:ext>
            </a:extLst>
          </p:cNvPr>
          <p:cNvSpPr txBox="1"/>
          <p:nvPr/>
        </p:nvSpPr>
        <p:spPr>
          <a:xfrm>
            <a:off x="1522218" y="2423399"/>
            <a:ext cx="2193542" cy="468972"/>
          </a:xfrm>
          <a:prstGeom prst="rect">
            <a:avLst/>
          </a:prstGeom>
          <a:solidFill>
            <a:srgbClr val="00B0F0"/>
          </a:solidFill>
        </p:spPr>
        <p:txBody>
          <a:bodyPr wrap="square" rtlCol="0">
            <a:spAutoFit/>
          </a:bodyPr>
          <a:lstStyle/>
          <a:p>
            <a:r>
              <a:rPr lang="en-US" sz="2400" dirty="0">
                <a:solidFill>
                  <a:schemeClr val="bg1"/>
                </a:solidFill>
                <a:latin typeface="Segoe UI" panose="020B0502040204020203" pitchFamily="34" charset="0"/>
                <a:cs typeface="Segoe UI" panose="020B0502040204020203" pitchFamily="34" charset="0"/>
              </a:rPr>
              <a:t>Counselors</a:t>
            </a:r>
          </a:p>
        </p:txBody>
      </p:sp>
      <p:pic>
        <p:nvPicPr>
          <p:cNvPr id="15" name="Picture 14">
            <a:extLst>
              <a:ext uri="{FF2B5EF4-FFF2-40B4-BE49-F238E27FC236}">
                <a16:creationId xmlns:a16="http://schemas.microsoft.com/office/drawing/2014/main" id="{B074748C-42A9-469C-A2F1-478FE89E5049}"/>
              </a:ext>
            </a:extLst>
          </p:cNvPr>
          <p:cNvPicPr>
            <a:picLocks noChangeAspect="1"/>
          </p:cNvPicPr>
          <p:nvPr/>
        </p:nvPicPr>
        <p:blipFill>
          <a:blip r:embed="rId4">
            <a:duotone>
              <a:prstClr val="black"/>
              <a:schemeClr val="tx2">
                <a:tint val="45000"/>
                <a:satMod val="400000"/>
              </a:schemeClr>
            </a:duotone>
          </a:blip>
          <a:stretch>
            <a:fillRect/>
          </a:stretch>
        </p:blipFill>
        <p:spPr>
          <a:xfrm>
            <a:off x="648052" y="2061000"/>
            <a:ext cx="888873" cy="888873"/>
          </a:xfrm>
          <a:prstGeom prst="rect">
            <a:avLst/>
          </a:prstGeom>
        </p:spPr>
      </p:pic>
      <p:pic>
        <p:nvPicPr>
          <p:cNvPr id="19" name="Picture 18">
            <a:extLst>
              <a:ext uri="{FF2B5EF4-FFF2-40B4-BE49-F238E27FC236}">
                <a16:creationId xmlns:a16="http://schemas.microsoft.com/office/drawing/2014/main" id="{CD0D94CD-3A90-4F22-A324-6EEE001455B2}"/>
              </a:ext>
            </a:extLst>
          </p:cNvPr>
          <p:cNvPicPr>
            <a:picLocks noChangeAspect="1"/>
          </p:cNvPicPr>
          <p:nvPr/>
        </p:nvPicPr>
        <p:blipFill>
          <a:blip r:embed="rId5"/>
          <a:stretch>
            <a:fillRect/>
          </a:stretch>
        </p:blipFill>
        <p:spPr>
          <a:xfrm>
            <a:off x="7097940" y="1819700"/>
            <a:ext cx="482600" cy="482600"/>
          </a:xfrm>
          <a:prstGeom prst="rect">
            <a:avLst/>
          </a:prstGeom>
        </p:spPr>
      </p:pic>
      <p:pic>
        <p:nvPicPr>
          <p:cNvPr id="21" name="Picture 20">
            <a:extLst>
              <a:ext uri="{FF2B5EF4-FFF2-40B4-BE49-F238E27FC236}">
                <a16:creationId xmlns:a16="http://schemas.microsoft.com/office/drawing/2014/main" id="{348E86D7-2F51-4538-96AB-9B37297065F3}"/>
              </a:ext>
            </a:extLst>
          </p:cNvPr>
          <p:cNvPicPr>
            <a:picLocks noChangeAspect="1"/>
          </p:cNvPicPr>
          <p:nvPr/>
        </p:nvPicPr>
        <p:blipFill>
          <a:blip r:embed="rId6"/>
          <a:stretch>
            <a:fillRect/>
          </a:stretch>
        </p:blipFill>
        <p:spPr>
          <a:xfrm>
            <a:off x="7113756" y="2825943"/>
            <a:ext cx="482600" cy="482600"/>
          </a:xfrm>
          <a:prstGeom prst="rect">
            <a:avLst/>
          </a:prstGeom>
        </p:spPr>
      </p:pic>
      <p:pic>
        <p:nvPicPr>
          <p:cNvPr id="23" name="Picture 22">
            <a:extLst>
              <a:ext uri="{FF2B5EF4-FFF2-40B4-BE49-F238E27FC236}">
                <a16:creationId xmlns:a16="http://schemas.microsoft.com/office/drawing/2014/main" id="{57ECB1E4-EE9E-4707-86C9-9F02C0867080}"/>
              </a:ext>
            </a:extLst>
          </p:cNvPr>
          <p:cNvPicPr>
            <a:picLocks noChangeAspect="1"/>
          </p:cNvPicPr>
          <p:nvPr/>
        </p:nvPicPr>
        <p:blipFill>
          <a:blip r:embed="rId7"/>
          <a:stretch>
            <a:fillRect/>
          </a:stretch>
        </p:blipFill>
        <p:spPr>
          <a:xfrm>
            <a:off x="7111794" y="660828"/>
            <a:ext cx="482600" cy="469900"/>
          </a:xfrm>
          <a:prstGeom prst="rect">
            <a:avLst/>
          </a:prstGeom>
        </p:spPr>
      </p:pic>
      <p:pic>
        <p:nvPicPr>
          <p:cNvPr id="24" name="Picture 23">
            <a:extLst>
              <a:ext uri="{FF2B5EF4-FFF2-40B4-BE49-F238E27FC236}">
                <a16:creationId xmlns:a16="http://schemas.microsoft.com/office/drawing/2014/main" id="{E4D54825-851F-4CB5-8A63-51D56562567F}"/>
              </a:ext>
            </a:extLst>
          </p:cNvPr>
          <p:cNvPicPr>
            <a:picLocks noChangeAspect="1"/>
          </p:cNvPicPr>
          <p:nvPr/>
        </p:nvPicPr>
        <p:blipFill>
          <a:blip r:embed="rId8"/>
          <a:stretch>
            <a:fillRect/>
          </a:stretch>
        </p:blipFill>
        <p:spPr>
          <a:xfrm>
            <a:off x="7110640" y="4023370"/>
            <a:ext cx="469900" cy="469900"/>
          </a:xfrm>
          <a:prstGeom prst="rect">
            <a:avLst/>
          </a:prstGeom>
        </p:spPr>
      </p:pic>
      <p:pic>
        <p:nvPicPr>
          <p:cNvPr id="25" name="Picture 24">
            <a:extLst>
              <a:ext uri="{FF2B5EF4-FFF2-40B4-BE49-F238E27FC236}">
                <a16:creationId xmlns:a16="http://schemas.microsoft.com/office/drawing/2014/main" id="{4CE6585D-E3AE-44FF-89F9-C773DF9B8A60}"/>
              </a:ext>
            </a:extLst>
          </p:cNvPr>
          <p:cNvPicPr>
            <a:picLocks noChangeAspect="1"/>
          </p:cNvPicPr>
          <p:nvPr/>
        </p:nvPicPr>
        <p:blipFill>
          <a:blip r:embed="rId9"/>
          <a:stretch>
            <a:fillRect/>
          </a:stretch>
        </p:blipFill>
        <p:spPr>
          <a:xfrm>
            <a:off x="2695228" y="5487022"/>
            <a:ext cx="457200" cy="457200"/>
          </a:xfrm>
          <a:prstGeom prst="rect">
            <a:avLst/>
          </a:prstGeom>
        </p:spPr>
      </p:pic>
    </p:spTree>
    <p:extLst>
      <p:ext uri="{BB962C8B-B14F-4D97-AF65-F5344CB8AC3E}">
        <p14:creationId xmlns:p14="http://schemas.microsoft.com/office/powerpoint/2010/main" val="1204996283"/>
      </p:ext>
    </p:extLst>
  </p:cSld>
  <p:clrMapOvr>
    <a:masterClrMapping/>
  </p:clrMapOvr>
  <p:transition spd="slow">
    <p:push dir="u"/>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4"/>
          <p:cNvSpPr txBox="1">
            <a:spLocks/>
          </p:cNvSpPr>
          <p:nvPr/>
        </p:nvSpPr>
        <p:spPr>
          <a:xfrm>
            <a:off x="635314" y="2892372"/>
            <a:ext cx="5879775" cy="1158629"/>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313" spc="0" dirty="0">
                <a:solidFill>
                  <a:schemeClr val="tx1"/>
                </a:solidFill>
                <a:latin typeface="Segoe UI Light" charset="0"/>
                <a:ea typeface="Segoe UI Light" charset="0"/>
                <a:cs typeface="Segoe UI Light" charset="0"/>
              </a:rPr>
              <a:t>Empower Education Administrators</a:t>
            </a:r>
          </a:p>
        </p:txBody>
      </p:sp>
      <p:sp>
        <p:nvSpPr>
          <p:cNvPr id="3" name="TextBox 2">
            <a:extLst>
              <a:ext uri="{FF2B5EF4-FFF2-40B4-BE49-F238E27FC236}">
                <a16:creationId xmlns:a16="http://schemas.microsoft.com/office/drawing/2014/main" id="{F92FF2FB-3E25-4DAF-8874-D444605B2659}"/>
              </a:ext>
            </a:extLst>
          </p:cNvPr>
          <p:cNvSpPr txBox="1"/>
          <p:nvPr/>
        </p:nvSpPr>
        <p:spPr>
          <a:xfrm>
            <a:off x="3169179" y="5243290"/>
            <a:ext cx="8647331" cy="1701737"/>
          </a:xfrm>
          <a:prstGeom prst="rect">
            <a:avLst/>
          </a:prstGeom>
          <a:noFill/>
        </p:spPr>
        <p:txBody>
          <a:bodyPr wrap="square" lIns="179285" tIns="143428" rIns="179285" bIns="143428" rtlCol="0">
            <a:spAutoFit/>
          </a:bodyPr>
          <a:lstStyle/>
          <a:p>
            <a:r>
              <a:rPr lang="en-US" sz="2353" dirty="0">
                <a:latin typeface="Segoe UI Light" charset="0"/>
                <a:ea typeface="Segoe UI Light" charset="0"/>
                <a:cs typeface="Segoe UI Light" charset="0"/>
              </a:rPr>
              <a:t>Build reporting systems that presents a consolidated view into student engagement, staff effectiveness and project costs from a facilities perspective across all campuses</a:t>
            </a:r>
          </a:p>
          <a:p>
            <a:pPr>
              <a:lnSpc>
                <a:spcPct val="90000"/>
              </a:lnSpc>
              <a:spcAft>
                <a:spcPts val="588"/>
              </a:spcAft>
            </a:pPr>
            <a:endParaRPr lang="en-US" sz="2353" dirty="0">
              <a:gradFill>
                <a:gsLst>
                  <a:gs pos="2917">
                    <a:schemeClr val="tx1"/>
                  </a:gs>
                  <a:gs pos="30000">
                    <a:schemeClr val="tx1"/>
                  </a:gs>
                </a:gsLst>
                <a:lin ang="5400000" scaled="0"/>
              </a:gradFill>
            </a:endParaRPr>
          </a:p>
        </p:txBody>
      </p:sp>
      <p:cxnSp>
        <p:nvCxnSpPr>
          <p:cNvPr id="6" name="Straight Connector 5">
            <a:extLst>
              <a:ext uri="{FF2B5EF4-FFF2-40B4-BE49-F238E27FC236}">
                <a16:creationId xmlns:a16="http://schemas.microsoft.com/office/drawing/2014/main" id="{4649555D-5E75-4611-B09C-4725B4A4A4BA}"/>
              </a:ext>
            </a:extLst>
          </p:cNvPr>
          <p:cNvCxnSpPr/>
          <p:nvPr/>
        </p:nvCxnSpPr>
        <p:spPr>
          <a:xfrm>
            <a:off x="899722" y="4705766"/>
            <a:ext cx="10192403"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3E5E303E-0784-44A6-875C-B5A4FC76C9D1}"/>
              </a:ext>
            </a:extLst>
          </p:cNvPr>
          <p:cNvSpPr txBox="1"/>
          <p:nvPr/>
        </p:nvSpPr>
        <p:spPr>
          <a:xfrm>
            <a:off x="899722" y="4759887"/>
            <a:ext cx="1638918" cy="615522"/>
          </a:xfrm>
          <a:prstGeom prst="rect">
            <a:avLst/>
          </a:prstGeom>
          <a:noFill/>
        </p:spPr>
        <p:txBody>
          <a:bodyPr wrap="square" lIns="179285" tIns="143428" rIns="179285" bIns="143428" rtlCol="0">
            <a:spAutoFit/>
          </a:bodyPr>
          <a:lstStyle/>
          <a:p>
            <a:pPr>
              <a:lnSpc>
                <a:spcPct val="90000"/>
              </a:lnSpc>
              <a:spcAft>
                <a:spcPts val="588"/>
              </a:spcAft>
            </a:pPr>
            <a:r>
              <a:rPr lang="en-US" sz="2353" dirty="0">
                <a:gradFill>
                  <a:gsLst>
                    <a:gs pos="2917">
                      <a:schemeClr val="tx1"/>
                    </a:gs>
                    <a:gs pos="30000">
                      <a:schemeClr val="tx1"/>
                    </a:gs>
                  </a:gsLst>
                  <a:lin ang="5400000" scaled="0"/>
                </a:gradFill>
              </a:rPr>
              <a:t>Solution</a:t>
            </a:r>
          </a:p>
        </p:txBody>
      </p:sp>
      <p:sp>
        <p:nvSpPr>
          <p:cNvPr id="13" name="Rectangle 12">
            <a:extLst>
              <a:ext uri="{FF2B5EF4-FFF2-40B4-BE49-F238E27FC236}">
                <a16:creationId xmlns:a16="http://schemas.microsoft.com/office/drawing/2014/main" id="{E420526D-1915-4529-B090-6B3A71DAF49D}"/>
              </a:ext>
            </a:extLst>
          </p:cNvPr>
          <p:cNvSpPr/>
          <p:nvPr/>
        </p:nvSpPr>
        <p:spPr>
          <a:xfrm>
            <a:off x="7707323" y="305069"/>
            <a:ext cx="3920902" cy="3877183"/>
          </a:xfrm>
          <a:prstGeom prst="rect">
            <a:avLst/>
          </a:prstGeom>
        </p:spPr>
        <p:txBody>
          <a:bodyPr wrap="square">
            <a:spAutoFit/>
          </a:bodyPr>
          <a:lstStyle/>
          <a:p>
            <a:pPr>
              <a:spcAft>
                <a:spcPts val="588"/>
              </a:spcAft>
            </a:pPr>
            <a:r>
              <a:rPr lang="en-US" sz="1765" kern="0" dirty="0">
                <a:latin typeface="Segoe UI Light" charset="0"/>
                <a:ea typeface="Segoe UI Light" charset="0"/>
                <a:cs typeface="Segoe UI Light" charset="0"/>
              </a:rPr>
              <a:t>All up dashboard map view across all schools within the district with ability to drill down with powerful self-service capabilities</a:t>
            </a:r>
          </a:p>
          <a:p>
            <a:pPr>
              <a:spcAft>
                <a:spcPts val="588"/>
              </a:spcAft>
            </a:pPr>
            <a:endParaRPr lang="en-US" sz="1765" kern="0" dirty="0">
              <a:latin typeface="Segoe UI Light" charset="0"/>
              <a:ea typeface="Segoe UI Light" charset="0"/>
              <a:cs typeface="Segoe UI Light" charset="0"/>
            </a:endParaRPr>
          </a:p>
          <a:p>
            <a:pPr>
              <a:spcAft>
                <a:spcPts val="2941"/>
              </a:spcAft>
            </a:pPr>
            <a:r>
              <a:rPr lang="en-US" sz="1765" kern="0" dirty="0">
                <a:latin typeface="Segoe UI Light" charset="0"/>
                <a:ea typeface="Segoe UI Light" charset="0"/>
                <a:cs typeface="Segoe UI Light" charset="0"/>
              </a:rPr>
              <a:t>Determine Staff and student effectiveness – Identify student dropout profiles and take proactive corrective action</a:t>
            </a:r>
          </a:p>
          <a:p>
            <a:pPr>
              <a:spcAft>
                <a:spcPts val="2941"/>
              </a:spcAft>
            </a:pPr>
            <a:r>
              <a:rPr lang="en-US" sz="1765" kern="0" dirty="0">
                <a:latin typeface="Segoe UI Light" charset="0"/>
                <a:ea typeface="Segoe UI Light" charset="0"/>
                <a:cs typeface="Segoe UI Light" charset="0"/>
              </a:rPr>
              <a:t>Determine overall costs of all projects across various campuses as part of the school district to measure ROI</a:t>
            </a:r>
          </a:p>
        </p:txBody>
      </p:sp>
      <p:pic>
        <p:nvPicPr>
          <p:cNvPr id="25" name="Picture 24">
            <a:extLst>
              <a:ext uri="{FF2B5EF4-FFF2-40B4-BE49-F238E27FC236}">
                <a16:creationId xmlns:a16="http://schemas.microsoft.com/office/drawing/2014/main" id="{1412B681-4EA6-4676-80A1-1FA23B38D860}"/>
              </a:ext>
            </a:extLst>
          </p:cNvPr>
          <p:cNvPicPr>
            <a:picLocks noChangeAspect="1"/>
          </p:cNvPicPr>
          <p:nvPr/>
        </p:nvPicPr>
        <p:blipFill rotWithShape="1">
          <a:blip r:embed="rId3" cstate="print">
            <a:grayscl/>
            <a:extLst>
              <a:ext uri="{28A0092B-C50C-407E-A947-70E740481C1C}">
                <a14:useLocalDpi xmlns:a14="http://schemas.microsoft.com/office/drawing/2010/main" val="0"/>
              </a:ext>
            </a:extLst>
          </a:blip>
          <a:srcRect/>
          <a:stretch/>
        </p:blipFill>
        <p:spPr>
          <a:xfrm>
            <a:off x="1739676" y="582712"/>
            <a:ext cx="2859006" cy="2309660"/>
          </a:xfrm>
          <a:prstGeom prst="rect">
            <a:avLst/>
          </a:prstGeom>
        </p:spPr>
      </p:pic>
      <p:sp>
        <p:nvSpPr>
          <p:cNvPr id="26" name="TextBox 25">
            <a:extLst>
              <a:ext uri="{FF2B5EF4-FFF2-40B4-BE49-F238E27FC236}">
                <a16:creationId xmlns:a16="http://schemas.microsoft.com/office/drawing/2014/main" id="{A64F429E-E61B-431C-B5CD-F41F00062650}"/>
              </a:ext>
            </a:extLst>
          </p:cNvPr>
          <p:cNvSpPr txBox="1"/>
          <p:nvPr/>
        </p:nvSpPr>
        <p:spPr>
          <a:xfrm>
            <a:off x="1739675" y="2432553"/>
            <a:ext cx="2168919" cy="459819"/>
          </a:xfrm>
          <a:prstGeom prst="rect">
            <a:avLst/>
          </a:prstGeom>
          <a:solidFill>
            <a:srgbClr val="00B0F0"/>
          </a:solidFill>
        </p:spPr>
        <p:txBody>
          <a:bodyPr wrap="square" rtlCol="0">
            <a:spAutoFit/>
          </a:bodyPr>
          <a:lstStyle>
            <a:defPPr>
              <a:defRPr lang="en-US"/>
            </a:defPPr>
            <a:lvl1pPr>
              <a:defRPr sz="2400">
                <a:solidFill>
                  <a:schemeClr val="bg1"/>
                </a:solidFill>
                <a:latin typeface="Segoe UI" panose="020B0502040204020203" pitchFamily="34" charset="0"/>
                <a:cs typeface="Segoe UI" panose="020B0502040204020203" pitchFamily="34" charset="0"/>
              </a:defRPr>
            </a:lvl1pPr>
          </a:lstStyle>
          <a:p>
            <a:r>
              <a:rPr lang="en-US" dirty="0"/>
              <a:t>Administrators</a:t>
            </a:r>
          </a:p>
        </p:txBody>
      </p:sp>
      <p:pic>
        <p:nvPicPr>
          <p:cNvPr id="15" name="Picture 14">
            <a:extLst>
              <a:ext uri="{FF2B5EF4-FFF2-40B4-BE49-F238E27FC236}">
                <a16:creationId xmlns:a16="http://schemas.microsoft.com/office/drawing/2014/main" id="{631F010A-0319-45E5-8284-21C9B3AEA9C5}"/>
              </a:ext>
            </a:extLst>
          </p:cNvPr>
          <p:cNvPicPr>
            <a:picLocks noChangeAspect="1"/>
          </p:cNvPicPr>
          <p:nvPr/>
        </p:nvPicPr>
        <p:blipFill>
          <a:blip r:embed="rId4">
            <a:duotone>
              <a:prstClr val="black"/>
              <a:schemeClr val="tx2">
                <a:tint val="45000"/>
                <a:satMod val="400000"/>
              </a:schemeClr>
            </a:duotone>
          </a:blip>
          <a:stretch>
            <a:fillRect/>
          </a:stretch>
        </p:blipFill>
        <p:spPr>
          <a:xfrm>
            <a:off x="782038" y="2226772"/>
            <a:ext cx="751715" cy="751715"/>
          </a:xfrm>
          <a:prstGeom prst="rect">
            <a:avLst/>
          </a:prstGeom>
        </p:spPr>
      </p:pic>
      <p:pic>
        <p:nvPicPr>
          <p:cNvPr id="16" name="Picture 15">
            <a:extLst>
              <a:ext uri="{FF2B5EF4-FFF2-40B4-BE49-F238E27FC236}">
                <a16:creationId xmlns:a16="http://schemas.microsoft.com/office/drawing/2014/main" id="{B108E83F-25EF-44BE-ACEA-81D818CF405A}"/>
              </a:ext>
            </a:extLst>
          </p:cNvPr>
          <p:cNvPicPr>
            <a:picLocks noChangeAspect="1"/>
          </p:cNvPicPr>
          <p:nvPr/>
        </p:nvPicPr>
        <p:blipFill>
          <a:blip r:embed="rId5"/>
          <a:stretch>
            <a:fillRect/>
          </a:stretch>
        </p:blipFill>
        <p:spPr>
          <a:xfrm>
            <a:off x="7154123" y="1923794"/>
            <a:ext cx="482600" cy="482600"/>
          </a:xfrm>
          <a:prstGeom prst="rect">
            <a:avLst/>
          </a:prstGeom>
        </p:spPr>
      </p:pic>
      <p:pic>
        <p:nvPicPr>
          <p:cNvPr id="17" name="Picture 16">
            <a:extLst>
              <a:ext uri="{FF2B5EF4-FFF2-40B4-BE49-F238E27FC236}">
                <a16:creationId xmlns:a16="http://schemas.microsoft.com/office/drawing/2014/main" id="{44A3813D-0C92-45B8-BA9F-388A3E1AD901}"/>
              </a:ext>
            </a:extLst>
          </p:cNvPr>
          <p:cNvPicPr>
            <a:picLocks noChangeAspect="1"/>
          </p:cNvPicPr>
          <p:nvPr/>
        </p:nvPicPr>
        <p:blipFill>
          <a:blip r:embed="rId6"/>
          <a:stretch>
            <a:fillRect/>
          </a:stretch>
        </p:blipFill>
        <p:spPr>
          <a:xfrm>
            <a:off x="7154123" y="348247"/>
            <a:ext cx="482600" cy="469900"/>
          </a:xfrm>
          <a:prstGeom prst="rect">
            <a:avLst/>
          </a:prstGeom>
        </p:spPr>
      </p:pic>
      <p:pic>
        <p:nvPicPr>
          <p:cNvPr id="21" name="Picture 20">
            <a:extLst>
              <a:ext uri="{FF2B5EF4-FFF2-40B4-BE49-F238E27FC236}">
                <a16:creationId xmlns:a16="http://schemas.microsoft.com/office/drawing/2014/main" id="{C3F25E22-400D-41FE-91B3-A86C6EE05F4A}"/>
              </a:ext>
            </a:extLst>
          </p:cNvPr>
          <p:cNvPicPr>
            <a:picLocks noChangeAspect="1"/>
          </p:cNvPicPr>
          <p:nvPr/>
        </p:nvPicPr>
        <p:blipFill>
          <a:blip r:embed="rId7">
            <a:duotone>
              <a:prstClr val="black"/>
              <a:schemeClr val="tx2">
                <a:tint val="45000"/>
                <a:satMod val="400000"/>
              </a:schemeClr>
            </a:duotone>
          </a:blip>
          <a:stretch>
            <a:fillRect/>
          </a:stretch>
        </p:blipFill>
        <p:spPr>
          <a:xfrm>
            <a:off x="2123444" y="5401576"/>
            <a:ext cx="733955" cy="733955"/>
          </a:xfrm>
          <a:prstGeom prst="rect">
            <a:avLst/>
          </a:prstGeom>
        </p:spPr>
      </p:pic>
      <p:pic>
        <p:nvPicPr>
          <p:cNvPr id="22" name="Picture 21">
            <a:extLst>
              <a:ext uri="{FF2B5EF4-FFF2-40B4-BE49-F238E27FC236}">
                <a16:creationId xmlns:a16="http://schemas.microsoft.com/office/drawing/2014/main" id="{391A404E-AB3D-42CE-A354-C2584E0D9593}"/>
              </a:ext>
            </a:extLst>
          </p:cNvPr>
          <p:cNvPicPr>
            <a:picLocks noChangeAspect="1"/>
          </p:cNvPicPr>
          <p:nvPr/>
        </p:nvPicPr>
        <p:blipFill>
          <a:blip r:embed="rId8"/>
          <a:stretch>
            <a:fillRect/>
          </a:stretch>
        </p:blipFill>
        <p:spPr>
          <a:xfrm>
            <a:off x="7154123" y="3305854"/>
            <a:ext cx="469900" cy="469900"/>
          </a:xfrm>
          <a:prstGeom prst="rect">
            <a:avLst/>
          </a:prstGeom>
        </p:spPr>
      </p:pic>
    </p:spTree>
    <p:extLst>
      <p:ext uri="{BB962C8B-B14F-4D97-AF65-F5344CB8AC3E}">
        <p14:creationId xmlns:p14="http://schemas.microsoft.com/office/powerpoint/2010/main" val="2730310105"/>
      </p:ext>
    </p:extLst>
  </p:cSld>
  <p:clrMapOvr>
    <a:masterClrMapping/>
  </p:clrMapOvr>
  <p:transition spd="slow">
    <p:push dir="u"/>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4"/>
          <p:cNvSpPr txBox="1">
            <a:spLocks/>
          </p:cNvSpPr>
          <p:nvPr/>
        </p:nvSpPr>
        <p:spPr>
          <a:xfrm>
            <a:off x="635314" y="2892372"/>
            <a:ext cx="5879775" cy="1158629"/>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313" spc="0" dirty="0">
                <a:solidFill>
                  <a:schemeClr val="tx1"/>
                </a:solidFill>
                <a:latin typeface="Segoe UI Light" charset="0"/>
                <a:ea typeface="Segoe UI Light" charset="0"/>
                <a:cs typeface="Segoe UI Light" charset="0"/>
              </a:rPr>
              <a:t>Optimize Institutions</a:t>
            </a:r>
          </a:p>
        </p:txBody>
      </p:sp>
      <p:sp>
        <p:nvSpPr>
          <p:cNvPr id="3" name="TextBox 2">
            <a:extLst>
              <a:ext uri="{FF2B5EF4-FFF2-40B4-BE49-F238E27FC236}">
                <a16:creationId xmlns:a16="http://schemas.microsoft.com/office/drawing/2014/main" id="{F92FF2FB-3E25-4DAF-8874-D444605B2659}"/>
              </a:ext>
            </a:extLst>
          </p:cNvPr>
          <p:cNvSpPr txBox="1"/>
          <p:nvPr/>
        </p:nvSpPr>
        <p:spPr>
          <a:xfrm>
            <a:off x="3169179" y="5442494"/>
            <a:ext cx="8647331" cy="1013800"/>
          </a:xfrm>
          <a:prstGeom prst="rect">
            <a:avLst/>
          </a:prstGeom>
          <a:noFill/>
        </p:spPr>
        <p:txBody>
          <a:bodyPr wrap="square" lIns="179285" tIns="143428" rIns="179285" bIns="143428" rtlCol="0">
            <a:spAutoFit/>
          </a:bodyPr>
          <a:lstStyle/>
          <a:p>
            <a:r>
              <a:rPr lang="en-US" sz="2353" dirty="0">
                <a:latin typeface="Segoe UI Light" charset="0"/>
                <a:ea typeface="Segoe UI Light" charset="0"/>
                <a:cs typeface="Segoe UI Light" charset="0"/>
              </a:rPr>
              <a:t>Build reporting systems that presents a drill-down project based cost view across all connected campuses</a:t>
            </a:r>
            <a:endParaRPr lang="en-US" sz="2353" dirty="0">
              <a:gradFill>
                <a:gsLst>
                  <a:gs pos="2917">
                    <a:schemeClr val="tx1"/>
                  </a:gs>
                  <a:gs pos="30000">
                    <a:schemeClr val="tx1"/>
                  </a:gs>
                </a:gsLst>
                <a:lin ang="5400000" scaled="0"/>
              </a:gradFill>
            </a:endParaRPr>
          </a:p>
        </p:txBody>
      </p:sp>
      <p:cxnSp>
        <p:nvCxnSpPr>
          <p:cNvPr id="6" name="Straight Connector 5">
            <a:extLst>
              <a:ext uri="{FF2B5EF4-FFF2-40B4-BE49-F238E27FC236}">
                <a16:creationId xmlns:a16="http://schemas.microsoft.com/office/drawing/2014/main" id="{4649555D-5E75-4611-B09C-4725B4A4A4BA}"/>
              </a:ext>
            </a:extLst>
          </p:cNvPr>
          <p:cNvCxnSpPr/>
          <p:nvPr/>
        </p:nvCxnSpPr>
        <p:spPr>
          <a:xfrm>
            <a:off x="899722" y="4986466"/>
            <a:ext cx="10192403"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3E5E303E-0784-44A6-875C-B5A4FC76C9D1}"/>
              </a:ext>
            </a:extLst>
          </p:cNvPr>
          <p:cNvSpPr txBox="1"/>
          <p:nvPr/>
        </p:nvSpPr>
        <p:spPr>
          <a:xfrm>
            <a:off x="899722" y="4959090"/>
            <a:ext cx="1638918" cy="615522"/>
          </a:xfrm>
          <a:prstGeom prst="rect">
            <a:avLst/>
          </a:prstGeom>
          <a:noFill/>
        </p:spPr>
        <p:txBody>
          <a:bodyPr wrap="square" lIns="179285" tIns="143428" rIns="179285" bIns="143428" rtlCol="0">
            <a:spAutoFit/>
          </a:bodyPr>
          <a:lstStyle/>
          <a:p>
            <a:pPr>
              <a:lnSpc>
                <a:spcPct val="90000"/>
              </a:lnSpc>
              <a:spcAft>
                <a:spcPts val="588"/>
              </a:spcAft>
            </a:pPr>
            <a:r>
              <a:rPr lang="en-US" sz="2353" dirty="0">
                <a:gradFill>
                  <a:gsLst>
                    <a:gs pos="2917">
                      <a:schemeClr val="tx1"/>
                    </a:gs>
                    <a:gs pos="30000">
                      <a:schemeClr val="tx1"/>
                    </a:gs>
                  </a:gsLst>
                  <a:lin ang="5400000" scaled="0"/>
                </a:gradFill>
              </a:rPr>
              <a:t>Solution</a:t>
            </a:r>
          </a:p>
        </p:txBody>
      </p:sp>
      <p:sp>
        <p:nvSpPr>
          <p:cNvPr id="13" name="Rectangle 12">
            <a:extLst>
              <a:ext uri="{FF2B5EF4-FFF2-40B4-BE49-F238E27FC236}">
                <a16:creationId xmlns:a16="http://schemas.microsoft.com/office/drawing/2014/main" id="{E420526D-1915-4529-B090-6B3A71DAF49D}"/>
              </a:ext>
            </a:extLst>
          </p:cNvPr>
          <p:cNvSpPr/>
          <p:nvPr/>
        </p:nvSpPr>
        <p:spPr>
          <a:xfrm>
            <a:off x="7554319" y="437620"/>
            <a:ext cx="3920902" cy="4480636"/>
          </a:xfrm>
          <a:prstGeom prst="rect">
            <a:avLst/>
          </a:prstGeom>
        </p:spPr>
        <p:txBody>
          <a:bodyPr wrap="square">
            <a:spAutoFit/>
          </a:bodyPr>
          <a:lstStyle/>
          <a:p>
            <a:pPr>
              <a:spcAft>
                <a:spcPts val="2941"/>
              </a:spcAft>
              <a:defRPr/>
            </a:pPr>
            <a:r>
              <a:rPr lang="en-US" sz="1765" kern="0" dirty="0">
                <a:latin typeface="Segoe UI Light" charset="0"/>
                <a:cs typeface="Segoe UI Light" charset="0"/>
              </a:rPr>
              <a:t>Collect, manage, and analyze maintenance requests to simplify facilities work</a:t>
            </a:r>
          </a:p>
          <a:p>
            <a:pPr>
              <a:spcAft>
                <a:spcPts val="2941"/>
              </a:spcAft>
              <a:buSzPct val="100000"/>
              <a:defRPr/>
            </a:pPr>
            <a:r>
              <a:rPr lang="en-US" sz="1765" kern="0" dirty="0">
                <a:latin typeface="Segoe UI Light" charset="0"/>
                <a:cs typeface="Segoe UI Light" charset="0"/>
              </a:rPr>
              <a:t>Run analytics on requests to understand different scenarios, like repair vs. purchase, and prepare institutions for upcoming expenses.</a:t>
            </a:r>
          </a:p>
          <a:p>
            <a:pPr>
              <a:spcAft>
                <a:spcPts val="2941"/>
              </a:spcAft>
            </a:pPr>
            <a:r>
              <a:rPr lang="en-US" sz="1765" kern="0" dirty="0">
                <a:latin typeface="Segoe UI Light" charset="0"/>
                <a:ea typeface="Segoe UI Light" charset="0"/>
                <a:cs typeface="Segoe UI Light" charset="0"/>
              </a:rPr>
              <a:t>Scale to more advanced scenarios with connected campuses with Azure IoT solution</a:t>
            </a:r>
          </a:p>
          <a:p>
            <a:pPr>
              <a:spcAft>
                <a:spcPts val="2941"/>
              </a:spcAft>
            </a:pPr>
            <a:r>
              <a:rPr lang="en-US" sz="1765" kern="0" dirty="0">
                <a:latin typeface="Segoe UI Light" charset="0"/>
                <a:ea typeface="Segoe UI Light" charset="0"/>
                <a:cs typeface="Segoe UI Light" charset="0"/>
              </a:rPr>
              <a:t>Optimize solutions to lower project costs to drive ROI</a:t>
            </a:r>
          </a:p>
        </p:txBody>
      </p:sp>
      <p:pic>
        <p:nvPicPr>
          <p:cNvPr id="24" name="Picture 23">
            <a:extLst>
              <a:ext uri="{FF2B5EF4-FFF2-40B4-BE49-F238E27FC236}">
                <a16:creationId xmlns:a16="http://schemas.microsoft.com/office/drawing/2014/main" id="{19E4AE6D-C78D-412C-BA13-005D50DF0655}"/>
              </a:ext>
            </a:extLst>
          </p:cNvPr>
          <p:cNvPicPr>
            <a:picLocks noChangeAspect="1"/>
          </p:cNvPicPr>
          <p:nvPr/>
        </p:nvPicPr>
        <p:blipFill rotWithShape="1">
          <a:blip r:embed="rId3" cstate="print">
            <a:grayscl/>
            <a:extLst>
              <a:ext uri="{28A0092B-C50C-407E-A947-70E740481C1C}">
                <a14:useLocalDpi xmlns:a14="http://schemas.microsoft.com/office/drawing/2010/main" val="0"/>
              </a:ext>
            </a:extLst>
          </a:blip>
          <a:srcRect/>
          <a:stretch/>
        </p:blipFill>
        <p:spPr>
          <a:xfrm>
            <a:off x="1371414" y="584179"/>
            <a:ext cx="2859631" cy="2308193"/>
          </a:xfrm>
          <a:prstGeom prst="rect">
            <a:avLst/>
          </a:prstGeom>
        </p:spPr>
      </p:pic>
      <p:sp>
        <p:nvSpPr>
          <p:cNvPr id="25" name="TextBox 24">
            <a:extLst>
              <a:ext uri="{FF2B5EF4-FFF2-40B4-BE49-F238E27FC236}">
                <a16:creationId xmlns:a16="http://schemas.microsoft.com/office/drawing/2014/main" id="{76AC284C-660D-4CE9-A876-B5AC6CBC3F60}"/>
              </a:ext>
            </a:extLst>
          </p:cNvPr>
          <p:cNvSpPr txBox="1"/>
          <p:nvPr/>
        </p:nvSpPr>
        <p:spPr>
          <a:xfrm>
            <a:off x="1371413" y="2426100"/>
            <a:ext cx="1880050" cy="468972"/>
          </a:xfrm>
          <a:prstGeom prst="rect">
            <a:avLst/>
          </a:prstGeom>
          <a:solidFill>
            <a:srgbClr val="00B0F0"/>
          </a:solidFill>
        </p:spPr>
        <p:txBody>
          <a:bodyPr wrap="square" rtlCol="0">
            <a:spAutoFit/>
          </a:bodyPr>
          <a:lstStyle>
            <a:defPPr>
              <a:defRPr lang="en-US"/>
            </a:defPPr>
            <a:lvl1pPr>
              <a:defRPr sz="2400">
                <a:solidFill>
                  <a:schemeClr val="bg1"/>
                </a:solidFill>
                <a:latin typeface="Segoe UI" panose="020B0502040204020203" pitchFamily="34" charset="0"/>
                <a:cs typeface="Segoe UI" panose="020B0502040204020203" pitchFamily="34" charset="0"/>
              </a:defRPr>
            </a:lvl1pPr>
          </a:lstStyle>
          <a:p>
            <a:r>
              <a:rPr lang="en-US" dirty="0"/>
              <a:t>Facilities</a:t>
            </a:r>
          </a:p>
        </p:txBody>
      </p:sp>
      <p:pic>
        <p:nvPicPr>
          <p:cNvPr id="16" name="Picture 15">
            <a:extLst>
              <a:ext uri="{FF2B5EF4-FFF2-40B4-BE49-F238E27FC236}">
                <a16:creationId xmlns:a16="http://schemas.microsoft.com/office/drawing/2014/main" id="{2DA77E99-60B4-49B7-9F75-3DBFE6411BF6}"/>
              </a:ext>
            </a:extLst>
          </p:cNvPr>
          <p:cNvPicPr>
            <a:picLocks noChangeAspect="1"/>
          </p:cNvPicPr>
          <p:nvPr/>
        </p:nvPicPr>
        <p:blipFill>
          <a:blip r:embed="rId4">
            <a:duotone>
              <a:schemeClr val="accent1">
                <a:shade val="45000"/>
                <a:satMod val="135000"/>
              </a:schemeClr>
              <a:prstClr val="white"/>
            </a:duotone>
          </a:blip>
          <a:stretch>
            <a:fillRect/>
          </a:stretch>
        </p:blipFill>
        <p:spPr>
          <a:xfrm>
            <a:off x="676463" y="2467273"/>
            <a:ext cx="482600" cy="482600"/>
          </a:xfrm>
          <a:prstGeom prst="rect">
            <a:avLst/>
          </a:prstGeom>
        </p:spPr>
      </p:pic>
      <p:pic>
        <p:nvPicPr>
          <p:cNvPr id="19" name="Picture 18">
            <a:extLst>
              <a:ext uri="{FF2B5EF4-FFF2-40B4-BE49-F238E27FC236}">
                <a16:creationId xmlns:a16="http://schemas.microsoft.com/office/drawing/2014/main" id="{8437529F-69EB-49FB-96A2-05ED2F7D6B66}"/>
              </a:ext>
            </a:extLst>
          </p:cNvPr>
          <p:cNvPicPr>
            <a:picLocks noChangeAspect="1"/>
          </p:cNvPicPr>
          <p:nvPr/>
        </p:nvPicPr>
        <p:blipFill>
          <a:blip r:embed="rId5"/>
          <a:stretch>
            <a:fillRect/>
          </a:stretch>
        </p:blipFill>
        <p:spPr>
          <a:xfrm>
            <a:off x="7003352" y="537018"/>
            <a:ext cx="482600" cy="482600"/>
          </a:xfrm>
          <a:prstGeom prst="rect">
            <a:avLst/>
          </a:prstGeom>
        </p:spPr>
      </p:pic>
      <p:pic>
        <p:nvPicPr>
          <p:cNvPr id="21" name="Picture 20">
            <a:extLst>
              <a:ext uri="{FF2B5EF4-FFF2-40B4-BE49-F238E27FC236}">
                <a16:creationId xmlns:a16="http://schemas.microsoft.com/office/drawing/2014/main" id="{A0CEF401-3AAB-4511-A756-8C9F31B7464A}"/>
              </a:ext>
            </a:extLst>
          </p:cNvPr>
          <p:cNvPicPr>
            <a:picLocks noChangeAspect="1"/>
          </p:cNvPicPr>
          <p:nvPr/>
        </p:nvPicPr>
        <p:blipFill>
          <a:blip r:embed="rId6">
            <a:duotone>
              <a:prstClr val="black"/>
              <a:schemeClr val="tx2">
                <a:tint val="45000"/>
                <a:satMod val="400000"/>
              </a:schemeClr>
            </a:duotone>
          </a:blip>
          <a:stretch>
            <a:fillRect/>
          </a:stretch>
        </p:blipFill>
        <p:spPr>
          <a:xfrm>
            <a:off x="2123444" y="5766824"/>
            <a:ext cx="733955" cy="733955"/>
          </a:xfrm>
          <a:prstGeom prst="rect">
            <a:avLst/>
          </a:prstGeom>
        </p:spPr>
      </p:pic>
      <p:pic>
        <p:nvPicPr>
          <p:cNvPr id="26" name="Picture 25">
            <a:extLst>
              <a:ext uri="{FF2B5EF4-FFF2-40B4-BE49-F238E27FC236}">
                <a16:creationId xmlns:a16="http://schemas.microsoft.com/office/drawing/2014/main" id="{12FDD067-9A40-4B65-90BE-4B732D2C4A89}"/>
              </a:ext>
            </a:extLst>
          </p:cNvPr>
          <p:cNvPicPr>
            <a:picLocks noChangeAspect="1"/>
          </p:cNvPicPr>
          <p:nvPr/>
        </p:nvPicPr>
        <p:blipFill>
          <a:blip r:embed="rId7"/>
          <a:stretch>
            <a:fillRect/>
          </a:stretch>
        </p:blipFill>
        <p:spPr>
          <a:xfrm>
            <a:off x="7003352" y="1722176"/>
            <a:ext cx="482600" cy="469900"/>
          </a:xfrm>
          <a:prstGeom prst="rect">
            <a:avLst/>
          </a:prstGeom>
        </p:spPr>
      </p:pic>
      <p:pic>
        <p:nvPicPr>
          <p:cNvPr id="27" name="Picture 26">
            <a:extLst>
              <a:ext uri="{FF2B5EF4-FFF2-40B4-BE49-F238E27FC236}">
                <a16:creationId xmlns:a16="http://schemas.microsoft.com/office/drawing/2014/main" id="{D7B7AFAE-8F9B-492D-80D6-2A00FE4760EB}"/>
              </a:ext>
            </a:extLst>
          </p:cNvPr>
          <p:cNvPicPr>
            <a:picLocks noChangeAspect="1"/>
          </p:cNvPicPr>
          <p:nvPr/>
        </p:nvPicPr>
        <p:blipFill>
          <a:blip r:embed="rId8"/>
          <a:stretch>
            <a:fillRect/>
          </a:stretch>
        </p:blipFill>
        <p:spPr>
          <a:xfrm>
            <a:off x="7016052" y="3175636"/>
            <a:ext cx="469900" cy="469900"/>
          </a:xfrm>
          <a:prstGeom prst="rect">
            <a:avLst/>
          </a:prstGeom>
        </p:spPr>
      </p:pic>
      <p:pic>
        <p:nvPicPr>
          <p:cNvPr id="28" name="Picture 27">
            <a:extLst>
              <a:ext uri="{FF2B5EF4-FFF2-40B4-BE49-F238E27FC236}">
                <a16:creationId xmlns:a16="http://schemas.microsoft.com/office/drawing/2014/main" id="{3CCF4758-50AE-4C1F-9C4B-864CE8E4F5FE}"/>
              </a:ext>
            </a:extLst>
          </p:cNvPr>
          <p:cNvPicPr>
            <a:picLocks noChangeAspect="1"/>
          </p:cNvPicPr>
          <p:nvPr/>
        </p:nvPicPr>
        <p:blipFill>
          <a:blip r:embed="rId9"/>
          <a:stretch>
            <a:fillRect/>
          </a:stretch>
        </p:blipFill>
        <p:spPr>
          <a:xfrm>
            <a:off x="7016052" y="4313431"/>
            <a:ext cx="469900" cy="469900"/>
          </a:xfrm>
          <a:prstGeom prst="rect">
            <a:avLst/>
          </a:prstGeom>
        </p:spPr>
      </p:pic>
    </p:spTree>
    <p:extLst>
      <p:ext uri="{BB962C8B-B14F-4D97-AF65-F5344CB8AC3E}">
        <p14:creationId xmlns:p14="http://schemas.microsoft.com/office/powerpoint/2010/main" val="2215818073"/>
      </p:ext>
    </p:extLst>
  </p:cSld>
  <p:clrMapOvr>
    <a:masterClrMapping/>
  </p:clrMapOvr>
  <p:transition spd="slow">
    <p:push dir="u"/>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9588220" y="1666444"/>
            <a:ext cx="2240721" cy="4614639"/>
            <a:chOff x="9588714" y="1666194"/>
            <a:chExt cx="2241039" cy="4615293"/>
          </a:xfrm>
        </p:grpSpPr>
        <p:sp>
          <p:nvSpPr>
            <p:cNvPr id="5" name="Rectangle 4"/>
            <p:cNvSpPr/>
            <p:nvPr/>
          </p:nvSpPr>
          <p:spPr>
            <a:xfrm>
              <a:off x="10329146" y="5953575"/>
              <a:ext cx="1500607" cy="327912"/>
            </a:xfrm>
            <a:prstGeom prst="rect">
              <a:avLst/>
            </a:prstGeom>
          </p:spPr>
          <p:txBody>
            <a:bodyPr wrap="none" lIns="0" tIns="0" rIns="0" bIns="0" anchor="ctr">
              <a:noAutofit/>
            </a:bodyPr>
            <a:lstStyle/>
            <a:p>
              <a:pPr defTabSz="914225">
                <a:lnSpc>
                  <a:spcPct val="90000"/>
                </a:lnSpc>
                <a:defRPr/>
              </a:pPr>
              <a:r>
                <a:rPr lang="en-US" sz="2400" kern="0" dirty="0">
                  <a:solidFill>
                    <a:srgbClr val="002050"/>
                  </a:solidFill>
                  <a:latin typeface="Segoe UI Light"/>
                </a:rPr>
                <a:t>Action</a:t>
              </a:r>
            </a:p>
          </p:txBody>
        </p:sp>
        <p:sp>
          <p:nvSpPr>
            <p:cNvPr id="6" name="Freeform 5"/>
            <p:cNvSpPr/>
            <p:nvPr/>
          </p:nvSpPr>
          <p:spPr bwMode="auto">
            <a:xfrm flipH="1">
              <a:off x="9588714" y="1666194"/>
              <a:ext cx="123857" cy="4199169"/>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cap="flat" cmpd="sng" algn="ctr">
              <a:solidFill>
                <a:srgbClr val="0078D7"/>
              </a:solidFill>
              <a:prstDash val="solid"/>
              <a:headEnd type="none" w="med" len="med"/>
              <a:tailEnd type="none" w="med" len="med"/>
            </a:ln>
            <a:effectLst/>
          </p:spPr>
          <p:txBody>
            <a:bodyPr rtlCol="0" anchor="ctr"/>
            <a:lstStyle/>
            <a:p>
              <a:pPr algn="ctr" defTabSz="914225">
                <a:defRPr/>
              </a:pPr>
              <a:endParaRPr lang="en-US" kern="0" dirty="0">
                <a:solidFill>
                  <a:srgbClr val="FFFFFF"/>
                </a:solidFill>
                <a:latin typeface="Segoe UI"/>
              </a:endParaRPr>
            </a:p>
          </p:txBody>
        </p:sp>
        <p:sp>
          <p:nvSpPr>
            <p:cNvPr id="7" name="TextBox 6"/>
            <p:cNvSpPr txBox="1"/>
            <p:nvPr/>
          </p:nvSpPr>
          <p:spPr>
            <a:xfrm>
              <a:off x="10381650" y="1978779"/>
              <a:ext cx="1090058" cy="461622"/>
            </a:xfrm>
            <a:prstGeom prst="rect">
              <a:avLst/>
            </a:prstGeom>
            <a:noFill/>
          </p:spPr>
          <p:txBody>
            <a:bodyPr wrap="square" lIns="182828" tIns="146262" rIns="182828" bIns="146262" rtlCol="0">
              <a:spAutoFit/>
            </a:bodyPr>
            <a:lstStyle/>
            <a:p>
              <a:pPr defTabSz="932384">
                <a:lnSpc>
                  <a:spcPct val="90000"/>
                </a:lnSpc>
                <a:spcBef>
                  <a:spcPct val="0"/>
                </a:spcBef>
                <a:spcAft>
                  <a:spcPts val="600"/>
                </a:spcAft>
                <a:defRPr/>
              </a:pPr>
              <a:r>
                <a:rPr lang="en-US" sz="1200" kern="0" spc="-30" dirty="0">
                  <a:solidFill>
                    <a:srgbClr val="002050"/>
                  </a:solidFill>
                  <a:latin typeface="Segoe UI Semilight" panose="020B0402040204020203" pitchFamily="34" charset="0"/>
                  <a:cs typeface="Segoe UI Semilight" panose="020B0402040204020203" pitchFamily="34" charset="0"/>
                </a:rPr>
                <a:t>People</a:t>
              </a:r>
            </a:p>
          </p:txBody>
        </p:sp>
        <p:sp>
          <p:nvSpPr>
            <p:cNvPr id="8" name="TextBox 7"/>
            <p:cNvSpPr txBox="1"/>
            <p:nvPr/>
          </p:nvSpPr>
          <p:spPr>
            <a:xfrm>
              <a:off x="10650440" y="5204331"/>
              <a:ext cx="868271" cy="332446"/>
            </a:xfrm>
            <a:prstGeom prst="rect">
              <a:avLst/>
            </a:prstGeom>
            <a:noFill/>
          </p:spPr>
          <p:txBody>
            <a:bodyPr wrap="square" lIns="0" tIns="0" rIns="0" bIns="0" rtlCol="0">
              <a:spAutoFit/>
            </a:bodyPr>
            <a:lstStyle/>
            <a:p>
              <a:pPr defTabSz="932384">
                <a:lnSpc>
                  <a:spcPct val="90000"/>
                </a:lnSpc>
                <a:spcBef>
                  <a:spcPct val="0"/>
                </a:spcBef>
                <a:spcAft>
                  <a:spcPts val="600"/>
                </a:spcAft>
                <a:defRPr/>
              </a:pPr>
              <a:r>
                <a:rPr lang="en-US" sz="1200" kern="0" spc="-30" dirty="0">
                  <a:solidFill>
                    <a:srgbClr val="002050"/>
                  </a:solidFill>
                  <a:latin typeface="Segoe UI Semilight" panose="020B0402040204020203" pitchFamily="34" charset="0"/>
                  <a:cs typeface="Segoe UI Semilight" panose="020B0402040204020203" pitchFamily="34" charset="0"/>
                </a:rPr>
                <a:t>Automated </a:t>
              </a:r>
              <a:br>
                <a:rPr lang="en-US" sz="1200" kern="0" spc="-30" dirty="0">
                  <a:solidFill>
                    <a:srgbClr val="002050"/>
                  </a:solidFill>
                  <a:latin typeface="Segoe UI Semilight" panose="020B0402040204020203" pitchFamily="34" charset="0"/>
                  <a:cs typeface="Segoe UI Semilight" panose="020B0402040204020203" pitchFamily="34" charset="0"/>
                </a:rPr>
              </a:br>
              <a:r>
                <a:rPr lang="en-US" sz="1200" kern="0" spc="-30" dirty="0">
                  <a:solidFill>
                    <a:srgbClr val="002050"/>
                  </a:solidFill>
                  <a:latin typeface="Segoe UI Semilight" panose="020B0402040204020203" pitchFamily="34" charset="0"/>
                  <a:cs typeface="Segoe UI Semilight" panose="020B0402040204020203" pitchFamily="34" charset="0"/>
                </a:rPr>
                <a:t>Systems</a:t>
              </a:r>
            </a:p>
          </p:txBody>
        </p:sp>
        <p:grpSp>
          <p:nvGrpSpPr>
            <p:cNvPr id="9" name="Group 8"/>
            <p:cNvGrpSpPr/>
            <p:nvPr/>
          </p:nvGrpSpPr>
          <p:grpSpPr>
            <a:xfrm>
              <a:off x="9984119" y="2016920"/>
              <a:ext cx="377227" cy="385340"/>
              <a:chOff x="6112510" y="6954657"/>
              <a:chExt cx="1181100" cy="1206500"/>
            </a:xfrm>
            <a:solidFill>
              <a:srgbClr val="0078D7"/>
            </a:solidFill>
          </p:grpSpPr>
          <p:sp>
            <p:nvSpPr>
              <p:cNvPr id="27" name="Freeform 5"/>
              <p:cNvSpPr>
                <a:spLocks noEditPoints="1"/>
              </p:cNvSpPr>
              <p:nvPr/>
            </p:nvSpPr>
            <p:spPr bwMode="auto">
              <a:xfrm>
                <a:off x="6233160" y="6954657"/>
                <a:ext cx="485775" cy="482600"/>
              </a:xfrm>
              <a:custGeom>
                <a:avLst/>
                <a:gdLst>
                  <a:gd name="T0" fmla="*/ 154 w 306"/>
                  <a:gd name="T1" fmla="*/ 304 h 304"/>
                  <a:gd name="T2" fmla="*/ 122 w 306"/>
                  <a:gd name="T3" fmla="*/ 302 h 304"/>
                  <a:gd name="T4" fmla="*/ 94 w 306"/>
                  <a:gd name="T5" fmla="*/ 292 h 304"/>
                  <a:gd name="T6" fmla="*/ 68 w 306"/>
                  <a:gd name="T7" fmla="*/ 278 h 304"/>
                  <a:gd name="T8" fmla="*/ 46 w 306"/>
                  <a:gd name="T9" fmla="*/ 260 h 304"/>
                  <a:gd name="T10" fmla="*/ 26 w 306"/>
                  <a:gd name="T11" fmla="*/ 238 h 304"/>
                  <a:gd name="T12" fmla="*/ 12 w 306"/>
                  <a:gd name="T13" fmla="*/ 212 h 304"/>
                  <a:gd name="T14" fmla="*/ 4 w 306"/>
                  <a:gd name="T15" fmla="*/ 182 h 304"/>
                  <a:gd name="T16" fmla="*/ 0 w 306"/>
                  <a:gd name="T17" fmla="*/ 152 h 304"/>
                  <a:gd name="T18" fmla="*/ 2 w 306"/>
                  <a:gd name="T19" fmla="*/ 136 h 304"/>
                  <a:gd name="T20" fmla="*/ 8 w 306"/>
                  <a:gd name="T21" fmla="*/ 106 h 304"/>
                  <a:gd name="T22" fmla="*/ 20 w 306"/>
                  <a:gd name="T23" fmla="*/ 80 h 304"/>
                  <a:gd name="T24" fmla="*/ 36 w 306"/>
                  <a:gd name="T25" fmla="*/ 56 h 304"/>
                  <a:gd name="T26" fmla="*/ 56 w 306"/>
                  <a:gd name="T27" fmla="*/ 34 h 304"/>
                  <a:gd name="T28" fmla="*/ 80 w 306"/>
                  <a:gd name="T29" fmla="*/ 18 h 304"/>
                  <a:gd name="T30" fmla="*/ 108 w 306"/>
                  <a:gd name="T31" fmla="*/ 6 h 304"/>
                  <a:gd name="T32" fmla="*/ 138 w 306"/>
                  <a:gd name="T33" fmla="*/ 0 h 304"/>
                  <a:gd name="T34" fmla="*/ 154 w 306"/>
                  <a:gd name="T35" fmla="*/ 0 h 304"/>
                  <a:gd name="T36" fmla="*/ 184 w 306"/>
                  <a:gd name="T37" fmla="*/ 2 h 304"/>
                  <a:gd name="T38" fmla="*/ 212 w 306"/>
                  <a:gd name="T39" fmla="*/ 12 h 304"/>
                  <a:gd name="T40" fmla="*/ 238 w 306"/>
                  <a:gd name="T41" fmla="*/ 26 h 304"/>
                  <a:gd name="T42" fmla="*/ 260 w 306"/>
                  <a:gd name="T43" fmla="*/ 44 h 304"/>
                  <a:gd name="T44" fmla="*/ 280 w 306"/>
                  <a:gd name="T45" fmla="*/ 66 h 304"/>
                  <a:gd name="T46" fmla="*/ 294 w 306"/>
                  <a:gd name="T47" fmla="*/ 92 h 304"/>
                  <a:gd name="T48" fmla="*/ 302 w 306"/>
                  <a:gd name="T49" fmla="*/ 122 h 304"/>
                  <a:gd name="T50" fmla="*/ 306 w 306"/>
                  <a:gd name="T51" fmla="*/ 152 h 304"/>
                  <a:gd name="T52" fmla="*/ 304 w 306"/>
                  <a:gd name="T53" fmla="*/ 168 h 304"/>
                  <a:gd name="T54" fmla="*/ 298 w 306"/>
                  <a:gd name="T55" fmla="*/ 198 h 304"/>
                  <a:gd name="T56" fmla="*/ 288 w 306"/>
                  <a:gd name="T57" fmla="*/ 224 h 304"/>
                  <a:gd name="T58" fmla="*/ 270 w 306"/>
                  <a:gd name="T59" fmla="*/ 248 h 304"/>
                  <a:gd name="T60" fmla="*/ 250 w 306"/>
                  <a:gd name="T61" fmla="*/ 270 h 304"/>
                  <a:gd name="T62" fmla="*/ 226 w 306"/>
                  <a:gd name="T63" fmla="*/ 286 h 304"/>
                  <a:gd name="T64" fmla="*/ 198 w 306"/>
                  <a:gd name="T65" fmla="*/ 298 h 304"/>
                  <a:gd name="T66" fmla="*/ 168 w 306"/>
                  <a:gd name="T67" fmla="*/ 304 h 304"/>
                  <a:gd name="T68" fmla="*/ 154 w 306"/>
                  <a:gd name="T69" fmla="*/ 304 h 304"/>
                  <a:gd name="T70" fmla="*/ 154 w 306"/>
                  <a:gd name="T71" fmla="*/ 28 h 304"/>
                  <a:gd name="T72" fmla="*/ 128 w 306"/>
                  <a:gd name="T73" fmla="*/ 30 h 304"/>
                  <a:gd name="T74" fmla="*/ 104 w 306"/>
                  <a:gd name="T75" fmla="*/ 38 h 304"/>
                  <a:gd name="T76" fmla="*/ 66 w 306"/>
                  <a:gd name="T77" fmla="*/ 64 h 304"/>
                  <a:gd name="T78" fmla="*/ 38 w 306"/>
                  <a:gd name="T79" fmla="*/ 104 h 304"/>
                  <a:gd name="T80" fmla="*/ 32 w 306"/>
                  <a:gd name="T81" fmla="*/ 128 h 304"/>
                  <a:gd name="T82" fmla="*/ 28 w 306"/>
                  <a:gd name="T83" fmla="*/ 152 h 304"/>
                  <a:gd name="T84" fmla="*/ 30 w 306"/>
                  <a:gd name="T85" fmla="*/ 164 h 304"/>
                  <a:gd name="T86" fmla="*/ 34 w 306"/>
                  <a:gd name="T87" fmla="*/ 190 h 304"/>
                  <a:gd name="T88" fmla="*/ 50 w 306"/>
                  <a:gd name="T89" fmla="*/ 222 h 304"/>
                  <a:gd name="T90" fmla="*/ 84 w 306"/>
                  <a:gd name="T91" fmla="*/ 256 h 304"/>
                  <a:gd name="T92" fmla="*/ 116 w 306"/>
                  <a:gd name="T93" fmla="*/ 270 h 304"/>
                  <a:gd name="T94" fmla="*/ 140 w 306"/>
                  <a:gd name="T95" fmla="*/ 276 h 304"/>
                  <a:gd name="T96" fmla="*/ 154 w 306"/>
                  <a:gd name="T97" fmla="*/ 276 h 304"/>
                  <a:gd name="T98" fmla="*/ 178 w 306"/>
                  <a:gd name="T99" fmla="*/ 274 h 304"/>
                  <a:gd name="T100" fmla="*/ 202 w 306"/>
                  <a:gd name="T101" fmla="*/ 266 h 304"/>
                  <a:gd name="T102" fmla="*/ 242 w 306"/>
                  <a:gd name="T103" fmla="*/ 240 h 304"/>
                  <a:gd name="T104" fmla="*/ 268 w 306"/>
                  <a:gd name="T105" fmla="*/ 200 h 304"/>
                  <a:gd name="T106" fmla="*/ 274 w 306"/>
                  <a:gd name="T107" fmla="*/ 178 h 304"/>
                  <a:gd name="T108" fmla="*/ 278 w 306"/>
                  <a:gd name="T109" fmla="*/ 152 h 304"/>
                  <a:gd name="T110" fmla="*/ 276 w 306"/>
                  <a:gd name="T111" fmla="*/ 140 h 304"/>
                  <a:gd name="T112" fmla="*/ 272 w 306"/>
                  <a:gd name="T113" fmla="*/ 116 h 304"/>
                  <a:gd name="T114" fmla="*/ 256 w 306"/>
                  <a:gd name="T115" fmla="*/ 82 h 304"/>
                  <a:gd name="T116" fmla="*/ 222 w 306"/>
                  <a:gd name="T117" fmla="*/ 50 h 304"/>
                  <a:gd name="T118" fmla="*/ 190 w 306"/>
                  <a:gd name="T119" fmla="*/ 34 h 304"/>
                  <a:gd name="T120" fmla="*/ 166 w 306"/>
                  <a:gd name="T121" fmla="*/ 28 h 304"/>
                  <a:gd name="T122" fmla="*/ 154 w 306"/>
                  <a:gd name="T123" fmla="*/ 28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6" h="304">
                    <a:moveTo>
                      <a:pt x="154" y="304"/>
                    </a:moveTo>
                    <a:lnTo>
                      <a:pt x="154" y="304"/>
                    </a:lnTo>
                    <a:lnTo>
                      <a:pt x="138" y="304"/>
                    </a:lnTo>
                    <a:lnTo>
                      <a:pt x="122" y="302"/>
                    </a:lnTo>
                    <a:lnTo>
                      <a:pt x="108" y="298"/>
                    </a:lnTo>
                    <a:lnTo>
                      <a:pt x="94" y="292"/>
                    </a:lnTo>
                    <a:lnTo>
                      <a:pt x="80" y="286"/>
                    </a:lnTo>
                    <a:lnTo>
                      <a:pt x="68" y="278"/>
                    </a:lnTo>
                    <a:lnTo>
                      <a:pt x="56" y="270"/>
                    </a:lnTo>
                    <a:lnTo>
                      <a:pt x="46" y="260"/>
                    </a:lnTo>
                    <a:lnTo>
                      <a:pt x="36" y="248"/>
                    </a:lnTo>
                    <a:lnTo>
                      <a:pt x="26" y="238"/>
                    </a:lnTo>
                    <a:lnTo>
                      <a:pt x="20" y="224"/>
                    </a:lnTo>
                    <a:lnTo>
                      <a:pt x="12" y="212"/>
                    </a:lnTo>
                    <a:lnTo>
                      <a:pt x="8" y="198"/>
                    </a:lnTo>
                    <a:lnTo>
                      <a:pt x="4" y="182"/>
                    </a:lnTo>
                    <a:lnTo>
                      <a:pt x="2" y="168"/>
                    </a:lnTo>
                    <a:lnTo>
                      <a:pt x="0" y="152"/>
                    </a:lnTo>
                    <a:lnTo>
                      <a:pt x="0" y="152"/>
                    </a:lnTo>
                    <a:lnTo>
                      <a:pt x="2" y="136"/>
                    </a:lnTo>
                    <a:lnTo>
                      <a:pt x="4" y="122"/>
                    </a:lnTo>
                    <a:lnTo>
                      <a:pt x="8" y="106"/>
                    </a:lnTo>
                    <a:lnTo>
                      <a:pt x="12" y="92"/>
                    </a:lnTo>
                    <a:lnTo>
                      <a:pt x="20" y="80"/>
                    </a:lnTo>
                    <a:lnTo>
                      <a:pt x="26" y="66"/>
                    </a:lnTo>
                    <a:lnTo>
                      <a:pt x="36" y="56"/>
                    </a:lnTo>
                    <a:lnTo>
                      <a:pt x="46" y="44"/>
                    </a:lnTo>
                    <a:lnTo>
                      <a:pt x="56" y="34"/>
                    </a:lnTo>
                    <a:lnTo>
                      <a:pt x="68" y="26"/>
                    </a:lnTo>
                    <a:lnTo>
                      <a:pt x="80" y="18"/>
                    </a:lnTo>
                    <a:lnTo>
                      <a:pt x="94" y="12"/>
                    </a:lnTo>
                    <a:lnTo>
                      <a:pt x="108" y="6"/>
                    </a:lnTo>
                    <a:lnTo>
                      <a:pt x="122" y="2"/>
                    </a:lnTo>
                    <a:lnTo>
                      <a:pt x="138" y="0"/>
                    </a:lnTo>
                    <a:lnTo>
                      <a:pt x="154" y="0"/>
                    </a:lnTo>
                    <a:lnTo>
                      <a:pt x="154" y="0"/>
                    </a:lnTo>
                    <a:lnTo>
                      <a:pt x="168" y="0"/>
                    </a:lnTo>
                    <a:lnTo>
                      <a:pt x="184" y="2"/>
                    </a:lnTo>
                    <a:lnTo>
                      <a:pt x="198" y="6"/>
                    </a:lnTo>
                    <a:lnTo>
                      <a:pt x="212" y="12"/>
                    </a:lnTo>
                    <a:lnTo>
                      <a:pt x="226" y="18"/>
                    </a:lnTo>
                    <a:lnTo>
                      <a:pt x="238" y="26"/>
                    </a:lnTo>
                    <a:lnTo>
                      <a:pt x="250" y="34"/>
                    </a:lnTo>
                    <a:lnTo>
                      <a:pt x="260" y="44"/>
                    </a:lnTo>
                    <a:lnTo>
                      <a:pt x="270" y="56"/>
                    </a:lnTo>
                    <a:lnTo>
                      <a:pt x="280" y="66"/>
                    </a:lnTo>
                    <a:lnTo>
                      <a:pt x="288" y="80"/>
                    </a:lnTo>
                    <a:lnTo>
                      <a:pt x="294" y="92"/>
                    </a:lnTo>
                    <a:lnTo>
                      <a:pt x="298" y="106"/>
                    </a:lnTo>
                    <a:lnTo>
                      <a:pt x="302" y="122"/>
                    </a:lnTo>
                    <a:lnTo>
                      <a:pt x="304" y="136"/>
                    </a:lnTo>
                    <a:lnTo>
                      <a:pt x="306" y="152"/>
                    </a:lnTo>
                    <a:lnTo>
                      <a:pt x="306" y="152"/>
                    </a:lnTo>
                    <a:lnTo>
                      <a:pt x="304" y="168"/>
                    </a:lnTo>
                    <a:lnTo>
                      <a:pt x="302" y="182"/>
                    </a:lnTo>
                    <a:lnTo>
                      <a:pt x="298" y="198"/>
                    </a:lnTo>
                    <a:lnTo>
                      <a:pt x="294" y="212"/>
                    </a:lnTo>
                    <a:lnTo>
                      <a:pt x="288" y="224"/>
                    </a:lnTo>
                    <a:lnTo>
                      <a:pt x="280" y="238"/>
                    </a:lnTo>
                    <a:lnTo>
                      <a:pt x="270" y="248"/>
                    </a:lnTo>
                    <a:lnTo>
                      <a:pt x="260" y="260"/>
                    </a:lnTo>
                    <a:lnTo>
                      <a:pt x="250" y="270"/>
                    </a:lnTo>
                    <a:lnTo>
                      <a:pt x="238" y="278"/>
                    </a:lnTo>
                    <a:lnTo>
                      <a:pt x="226" y="286"/>
                    </a:lnTo>
                    <a:lnTo>
                      <a:pt x="212" y="292"/>
                    </a:lnTo>
                    <a:lnTo>
                      <a:pt x="198" y="298"/>
                    </a:lnTo>
                    <a:lnTo>
                      <a:pt x="184" y="302"/>
                    </a:lnTo>
                    <a:lnTo>
                      <a:pt x="168" y="304"/>
                    </a:lnTo>
                    <a:lnTo>
                      <a:pt x="154" y="304"/>
                    </a:lnTo>
                    <a:lnTo>
                      <a:pt x="154" y="304"/>
                    </a:lnTo>
                    <a:close/>
                    <a:moveTo>
                      <a:pt x="154" y="28"/>
                    </a:moveTo>
                    <a:lnTo>
                      <a:pt x="154" y="28"/>
                    </a:lnTo>
                    <a:lnTo>
                      <a:pt x="140" y="28"/>
                    </a:lnTo>
                    <a:lnTo>
                      <a:pt x="128" y="30"/>
                    </a:lnTo>
                    <a:lnTo>
                      <a:pt x="116" y="34"/>
                    </a:lnTo>
                    <a:lnTo>
                      <a:pt x="104" y="38"/>
                    </a:lnTo>
                    <a:lnTo>
                      <a:pt x="84" y="50"/>
                    </a:lnTo>
                    <a:lnTo>
                      <a:pt x="66" y="64"/>
                    </a:lnTo>
                    <a:lnTo>
                      <a:pt x="50" y="82"/>
                    </a:lnTo>
                    <a:lnTo>
                      <a:pt x="38" y="104"/>
                    </a:lnTo>
                    <a:lnTo>
                      <a:pt x="34" y="116"/>
                    </a:lnTo>
                    <a:lnTo>
                      <a:pt x="32" y="128"/>
                    </a:lnTo>
                    <a:lnTo>
                      <a:pt x="30" y="140"/>
                    </a:lnTo>
                    <a:lnTo>
                      <a:pt x="28" y="152"/>
                    </a:lnTo>
                    <a:lnTo>
                      <a:pt x="28" y="152"/>
                    </a:lnTo>
                    <a:lnTo>
                      <a:pt x="30" y="164"/>
                    </a:lnTo>
                    <a:lnTo>
                      <a:pt x="32" y="178"/>
                    </a:lnTo>
                    <a:lnTo>
                      <a:pt x="34" y="190"/>
                    </a:lnTo>
                    <a:lnTo>
                      <a:pt x="38" y="200"/>
                    </a:lnTo>
                    <a:lnTo>
                      <a:pt x="50" y="222"/>
                    </a:lnTo>
                    <a:lnTo>
                      <a:pt x="66" y="240"/>
                    </a:lnTo>
                    <a:lnTo>
                      <a:pt x="84" y="256"/>
                    </a:lnTo>
                    <a:lnTo>
                      <a:pt x="104" y="266"/>
                    </a:lnTo>
                    <a:lnTo>
                      <a:pt x="116" y="270"/>
                    </a:lnTo>
                    <a:lnTo>
                      <a:pt x="128" y="274"/>
                    </a:lnTo>
                    <a:lnTo>
                      <a:pt x="140" y="276"/>
                    </a:lnTo>
                    <a:lnTo>
                      <a:pt x="154" y="276"/>
                    </a:lnTo>
                    <a:lnTo>
                      <a:pt x="154" y="276"/>
                    </a:lnTo>
                    <a:lnTo>
                      <a:pt x="166" y="276"/>
                    </a:lnTo>
                    <a:lnTo>
                      <a:pt x="178" y="274"/>
                    </a:lnTo>
                    <a:lnTo>
                      <a:pt x="190" y="270"/>
                    </a:lnTo>
                    <a:lnTo>
                      <a:pt x="202" y="266"/>
                    </a:lnTo>
                    <a:lnTo>
                      <a:pt x="222" y="256"/>
                    </a:lnTo>
                    <a:lnTo>
                      <a:pt x="242" y="240"/>
                    </a:lnTo>
                    <a:lnTo>
                      <a:pt x="256" y="222"/>
                    </a:lnTo>
                    <a:lnTo>
                      <a:pt x="268" y="200"/>
                    </a:lnTo>
                    <a:lnTo>
                      <a:pt x="272" y="190"/>
                    </a:lnTo>
                    <a:lnTo>
                      <a:pt x="274" y="178"/>
                    </a:lnTo>
                    <a:lnTo>
                      <a:pt x="276" y="164"/>
                    </a:lnTo>
                    <a:lnTo>
                      <a:pt x="278" y="152"/>
                    </a:lnTo>
                    <a:lnTo>
                      <a:pt x="278" y="152"/>
                    </a:lnTo>
                    <a:lnTo>
                      <a:pt x="276" y="140"/>
                    </a:lnTo>
                    <a:lnTo>
                      <a:pt x="274" y="128"/>
                    </a:lnTo>
                    <a:lnTo>
                      <a:pt x="272" y="116"/>
                    </a:lnTo>
                    <a:lnTo>
                      <a:pt x="268" y="104"/>
                    </a:lnTo>
                    <a:lnTo>
                      <a:pt x="256" y="82"/>
                    </a:lnTo>
                    <a:lnTo>
                      <a:pt x="242" y="64"/>
                    </a:lnTo>
                    <a:lnTo>
                      <a:pt x="222" y="50"/>
                    </a:lnTo>
                    <a:lnTo>
                      <a:pt x="202" y="38"/>
                    </a:lnTo>
                    <a:lnTo>
                      <a:pt x="190" y="34"/>
                    </a:lnTo>
                    <a:lnTo>
                      <a:pt x="178" y="30"/>
                    </a:lnTo>
                    <a:lnTo>
                      <a:pt x="166" y="28"/>
                    </a:lnTo>
                    <a:lnTo>
                      <a:pt x="154" y="28"/>
                    </a:lnTo>
                    <a:lnTo>
                      <a:pt x="154"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latin typeface="Segoe UI"/>
                </a:endParaRPr>
              </a:p>
            </p:txBody>
          </p:sp>
          <p:sp>
            <p:nvSpPr>
              <p:cNvPr id="28" name="Freeform 6"/>
              <p:cNvSpPr>
                <a:spLocks noEditPoints="1"/>
              </p:cNvSpPr>
              <p:nvPr/>
            </p:nvSpPr>
            <p:spPr bwMode="auto">
              <a:xfrm>
                <a:off x="6112510" y="7481707"/>
                <a:ext cx="727075" cy="679450"/>
              </a:xfrm>
              <a:custGeom>
                <a:avLst/>
                <a:gdLst>
                  <a:gd name="T0" fmla="*/ 0 w 458"/>
                  <a:gd name="T1" fmla="*/ 428 h 428"/>
                  <a:gd name="T2" fmla="*/ 16 w 458"/>
                  <a:gd name="T3" fmla="*/ 210 h 428"/>
                  <a:gd name="T4" fmla="*/ 22 w 458"/>
                  <a:gd name="T5" fmla="*/ 166 h 428"/>
                  <a:gd name="T6" fmla="*/ 36 w 458"/>
                  <a:gd name="T7" fmla="*/ 126 h 428"/>
                  <a:gd name="T8" fmla="*/ 56 w 458"/>
                  <a:gd name="T9" fmla="*/ 90 h 428"/>
                  <a:gd name="T10" fmla="*/ 82 w 458"/>
                  <a:gd name="T11" fmla="*/ 60 h 428"/>
                  <a:gd name="T12" fmla="*/ 112 w 458"/>
                  <a:gd name="T13" fmla="*/ 34 h 428"/>
                  <a:gd name="T14" fmla="*/ 148 w 458"/>
                  <a:gd name="T15" fmla="*/ 16 h 428"/>
                  <a:gd name="T16" fmla="*/ 186 w 458"/>
                  <a:gd name="T17" fmla="*/ 4 h 428"/>
                  <a:gd name="T18" fmla="*/ 226 w 458"/>
                  <a:gd name="T19" fmla="*/ 0 h 428"/>
                  <a:gd name="T20" fmla="*/ 248 w 458"/>
                  <a:gd name="T21" fmla="*/ 0 h 428"/>
                  <a:gd name="T22" fmla="*/ 286 w 458"/>
                  <a:gd name="T23" fmla="*/ 8 h 428"/>
                  <a:gd name="T24" fmla="*/ 322 w 458"/>
                  <a:gd name="T25" fmla="*/ 24 h 428"/>
                  <a:gd name="T26" fmla="*/ 356 w 458"/>
                  <a:gd name="T27" fmla="*/ 48 h 428"/>
                  <a:gd name="T28" fmla="*/ 384 w 458"/>
                  <a:gd name="T29" fmla="*/ 76 h 428"/>
                  <a:gd name="T30" fmla="*/ 408 w 458"/>
                  <a:gd name="T31" fmla="*/ 108 h 428"/>
                  <a:gd name="T32" fmla="*/ 424 w 458"/>
                  <a:gd name="T33" fmla="*/ 146 h 428"/>
                  <a:gd name="T34" fmla="*/ 436 w 458"/>
                  <a:gd name="T35" fmla="*/ 188 h 428"/>
                  <a:gd name="T36" fmla="*/ 458 w 458"/>
                  <a:gd name="T37" fmla="*/ 428 h 428"/>
                  <a:gd name="T38" fmla="*/ 428 w 458"/>
                  <a:gd name="T39" fmla="*/ 400 h 428"/>
                  <a:gd name="T40" fmla="*/ 410 w 458"/>
                  <a:gd name="T41" fmla="*/ 212 h 428"/>
                  <a:gd name="T42" fmla="*/ 404 w 458"/>
                  <a:gd name="T43" fmla="*/ 174 h 428"/>
                  <a:gd name="T44" fmla="*/ 392 w 458"/>
                  <a:gd name="T45" fmla="*/ 140 h 428"/>
                  <a:gd name="T46" fmla="*/ 374 w 458"/>
                  <a:gd name="T47" fmla="*/ 108 h 428"/>
                  <a:gd name="T48" fmla="*/ 352 w 458"/>
                  <a:gd name="T49" fmla="*/ 82 h 428"/>
                  <a:gd name="T50" fmla="*/ 324 w 458"/>
                  <a:gd name="T51" fmla="*/ 58 h 428"/>
                  <a:gd name="T52" fmla="*/ 294 w 458"/>
                  <a:gd name="T53" fmla="*/ 42 h 428"/>
                  <a:gd name="T54" fmla="*/ 262 w 458"/>
                  <a:gd name="T55" fmla="*/ 32 h 428"/>
                  <a:gd name="T56" fmla="*/ 226 w 458"/>
                  <a:gd name="T57" fmla="*/ 28 h 428"/>
                  <a:gd name="T58" fmla="*/ 208 w 458"/>
                  <a:gd name="T59" fmla="*/ 28 h 428"/>
                  <a:gd name="T60" fmla="*/ 174 w 458"/>
                  <a:gd name="T61" fmla="*/ 36 h 428"/>
                  <a:gd name="T62" fmla="*/ 142 w 458"/>
                  <a:gd name="T63" fmla="*/ 50 h 428"/>
                  <a:gd name="T64" fmla="*/ 114 w 458"/>
                  <a:gd name="T65" fmla="*/ 68 h 428"/>
                  <a:gd name="T66" fmla="*/ 90 w 458"/>
                  <a:gd name="T67" fmla="*/ 94 h 428"/>
                  <a:gd name="T68" fmla="*/ 70 w 458"/>
                  <a:gd name="T69" fmla="*/ 122 h 428"/>
                  <a:gd name="T70" fmla="*/ 54 w 458"/>
                  <a:gd name="T71" fmla="*/ 156 h 428"/>
                  <a:gd name="T72" fmla="*/ 46 w 458"/>
                  <a:gd name="T73" fmla="*/ 192 h 428"/>
                  <a:gd name="T74" fmla="*/ 30 w 458"/>
                  <a:gd name="T75" fmla="*/ 40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8" h="428">
                    <a:moveTo>
                      <a:pt x="458" y="428"/>
                    </a:moveTo>
                    <a:lnTo>
                      <a:pt x="0" y="428"/>
                    </a:lnTo>
                    <a:lnTo>
                      <a:pt x="16" y="210"/>
                    </a:lnTo>
                    <a:lnTo>
                      <a:pt x="16" y="210"/>
                    </a:lnTo>
                    <a:lnTo>
                      <a:pt x="18" y="188"/>
                    </a:lnTo>
                    <a:lnTo>
                      <a:pt x="22" y="166"/>
                    </a:lnTo>
                    <a:lnTo>
                      <a:pt x="28" y="146"/>
                    </a:lnTo>
                    <a:lnTo>
                      <a:pt x="36" y="126"/>
                    </a:lnTo>
                    <a:lnTo>
                      <a:pt x="46" y="108"/>
                    </a:lnTo>
                    <a:lnTo>
                      <a:pt x="56" y="90"/>
                    </a:lnTo>
                    <a:lnTo>
                      <a:pt x="68" y="74"/>
                    </a:lnTo>
                    <a:lnTo>
                      <a:pt x="82" y="60"/>
                    </a:lnTo>
                    <a:lnTo>
                      <a:pt x="98" y="46"/>
                    </a:lnTo>
                    <a:lnTo>
                      <a:pt x="112" y="34"/>
                    </a:lnTo>
                    <a:lnTo>
                      <a:pt x="130" y="24"/>
                    </a:lnTo>
                    <a:lnTo>
                      <a:pt x="148" y="16"/>
                    </a:lnTo>
                    <a:lnTo>
                      <a:pt x="166" y="8"/>
                    </a:lnTo>
                    <a:lnTo>
                      <a:pt x="186" y="4"/>
                    </a:lnTo>
                    <a:lnTo>
                      <a:pt x="206" y="0"/>
                    </a:lnTo>
                    <a:lnTo>
                      <a:pt x="226" y="0"/>
                    </a:lnTo>
                    <a:lnTo>
                      <a:pt x="226" y="0"/>
                    </a:lnTo>
                    <a:lnTo>
                      <a:pt x="248" y="0"/>
                    </a:lnTo>
                    <a:lnTo>
                      <a:pt x="268" y="4"/>
                    </a:lnTo>
                    <a:lnTo>
                      <a:pt x="286" y="8"/>
                    </a:lnTo>
                    <a:lnTo>
                      <a:pt x="306" y="16"/>
                    </a:lnTo>
                    <a:lnTo>
                      <a:pt x="322" y="24"/>
                    </a:lnTo>
                    <a:lnTo>
                      <a:pt x="340" y="36"/>
                    </a:lnTo>
                    <a:lnTo>
                      <a:pt x="356" y="48"/>
                    </a:lnTo>
                    <a:lnTo>
                      <a:pt x="370" y="60"/>
                    </a:lnTo>
                    <a:lnTo>
                      <a:pt x="384" y="76"/>
                    </a:lnTo>
                    <a:lnTo>
                      <a:pt x="396" y="92"/>
                    </a:lnTo>
                    <a:lnTo>
                      <a:pt x="408" y="108"/>
                    </a:lnTo>
                    <a:lnTo>
                      <a:pt x="418" y="128"/>
                    </a:lnTo>
                    <a:lnTo>
                      <a:pt x="424" y="146"/>
                    </a:lnTo>
                    <a:lnTo>
                      <a:pt x="432" y="168"/>
                    </a:lnTo>
                    <a:lnTo>
                      <a:pt x="436" y="188"/>
                    </a:lnTo>
                    <a:lnTo>
                      <a:pt x="438" y="210"/>
                    </a:lnTo>
                    <a:lnTo>
                      <a:pt x="458" y="428"/>
                    </a:lnTo>
                    <a:close/>
                    <a:moveTo>
                      <a:pt x="30" y="400"/>
                    </a:moveTo>
                    <a:lnTo>
                      <a:pt x="428" y="400"/>
                    </a:lnTo>
                    <a:lnTo>
                      <a:pt x="410" y="212"/>
                    </a:lnTo>
                    <a:lnTo>
                      <a:pt x="410" y="212"/>
                    </a:lnTo>
                    <a:lnTo>
                      <a:pt x="408" y="194"/>
                    </a:lnTo>
                    <a:lnTo>
                      <a:pt x="404" y="174"/>
                    </a:lnTo>
                    <a:lnTo>
                      <a:pt x="398" y="156"/>
                    </a:lnTo>
                    <a:lnTo>
                      <a:pt x="392" y="140"/>
                    </a:lnTo>
                    <a:lnTo>
                      <a:pt x="384" y="124"/>
                    </a:lnTo>
                    <a:lnTo>
                      <a:pt x="374" y="108"/>
                    </a:lnTo>
                    <a:lnTo>
                      <a:pt x="364" y="94"/>
                    </a:lnTo>
                    <a:lnTo>
                      <a:pt x="352" y="82"/>
                    </a:lnTo>
                    <a:lnTo>
                      <a:pt x="338" y="70"/>
                    </a:lnTo>
                    <a:lnTo>
                      <a:pt x="324" y="58"/>
                    </a:lnTo>
                    <a:lnTo>
                      <a:pt x="310" y="50"/>
                    </a:lnTo>
                    <a:lnTo>
                      <a:pt x="294" y="42"/>
                    </a:lnTo>
                    <a:lnTo>
                      <a:pt x="278" y="36"/>
                    </a:lnTo>
                    <a:lnTo>
                      <a:pt x="262" y="32"/>
                    </a:lnTo>
                    <a:lnTo>
                      <a:pt x="244" y="28"/>
                    </a:lnTo>
                    <a:lnTo>
                      <a:pt x="226" y="28"/>
                    </a:lnTo>
                    <a:lnTo>
                      <a:pt x="226" y="28"/>
                    </a:lnTo>
                    <a:lnTo>
                      <a:pt x="208" y="28"/>
                    </a:lnTo>
                    <a:lnTo>
                      <a:pt x="192" y="32"/>
                    </a:lnTo>
                    <a:lnTo>
                      <a:pt x="174" y="36"/>
                    </a:lnTo>
                    <a:lnTo>
                      <a:pt x="158" y="42"/>
                    </a:lnTo>
                    <a:lnTo>
                      <a:pt x="142" y="50"/>
                    </a:lnTo>
                    <a:lnTo>
                      <a:pt x="128" y="58"/>
                    </a:lnTo>
                    <a:lnTo>
                      <a:pt x="114" y="68"/>
                    </a:lnTo>
                    <a:lnTo>
                      <a:pt x="102" y="80"/>
                    </a:lnTo>
                    <a:lnTo>
                      <a:pt x="90" y="94"/>
                    </a:lnTo>
                    <a:lnTo>
                      <a:pt x="80" y="108"/>
                    </a:lnTo>
                    <a:lnTo>
                      <a:pt x="70" y="122"/>
                    </a:lnTo>
                    <a:lnTo>
                      <a:pt x="62" y="138"/>
                    </a:lnTo>
                    <a:lnTo>
                      <a:pt x="54" y="156"/>
                    </a:lnTo>
                    <a:lnTo>
                      <a:pt x="50" y="174"/>
                    </a:lnTo>
                    <a:lnTo>
                      <a:pt x="46" y="192"/>
                    </a:lnTo>
                    <a:lnTo>
                      <a:pt x="44" y="212"/>
                    </a:lnTo>
                    <a:lnTo>
                      <a:pt x="30" y="4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latin typeface="Segoe UI"/>
                </a:endParaRPr>
              </a:p>
            </p:txBody>
          </p:sp>
          <p:sp>
            <p:nvSpPr>
              <p:cNvPr id="29" name="Freeform 7"/>
              <p:cNvSpPr>
                <a:spLocks noEditPoints="1"/>
              </p:cNvSpPr>
              <p:nvPr/>
            </p:nvSpPr>
            <p:spPr bwMode="auto">
              <a:xfrm>
                <a:off x="6826885" y="7173732"/>
                <a:ext cx="374650" cy="374650"/>
              </a:xfrm>
              <a:custGeom>
                <a:avLst/>
                <a:gdLst>
                  <a:gd name="T0" fmla="*/ 118 w 236"/>
                  <a:gd name="T1" fmla="*/ 236 h 236"/>
                  <a:gd name="T2" fmla="*/ 94 w 236"/>
                  <a:gd name="T3" fmla="*/ 234 h 236"/>
                  <a:gd name="T4" fmla="*/ 52 w 236"/>
                  <a:gd name="T5" fmla="*/ 216 h 236"/>
                  <a:gd name="T6" fmla="*/ 20 w 236"/>
                  <a:gd name="T7" fmla="*/ 184 h 236"/>
                  <a:gd name="T8" fmla="*/ 2 w 236"/>
                  <a:gd name="T9" fmla="*/ 142 h 236"/>
                  <a:gd name="T10" fmla="*/ 0 w 236"/>
                  <a:gd name="T11" fmla="*/ 118 h 236"/>
                  <a:gd name="T12" fmla="*/ 2 w 236"/>
                  <a:gd name="T13" fmla="*/ 106 h 236"/>
                  <a:gd name="T14" fmla="*/ 10 w 236"/>
                  <a:gd name="T15" fmla="*/ 72 h 236"/>
                  <a:gd name="T16" fmla="*/ 34 w 236"/>
                  <a:gd name="T17" fmla="*/ 34 h 236"/>
                  <a:gd name="T18" fmla="*/ 72 w 236"/>
                  <a:gd name="T19" fmla="*/ 10 h 236"/>
                  <a:gd name="T20" fmla="*/ 106 w 236"/>
                  <a:gd name="T21" fmla="*/ 0 h 236"/>
                  <a:gd name="T22" fmla="*/ 118 w 236"/>
                  <a:gd name="T23" fmla="*/ 0 h 236"/>
                  <a:gd name="T24" fmla="*/ 142 w 236"/>
                  <a:gd name="T25" fmla="*/ 2 h 236"/>
                  <a:gd name="T26" fmla="*/ 184 w 236"/>
                  <a:gd name="T27" fmla="*/ 20 h 236"/>
                  <a:gd name="T28" fmla="*/ 216 w 236"/>
                  <a:gd name="T29" fmla="*/ 52 h 236"/>
                  <a:gd name="T30" fmla="*/ 234 w 236"/>
                  <a:gd name="T31" fmla="*/ 94 h 236"/>
                  <a:gd name="T32" fmla="*/ 236 w 236"/>
                  <a:gd name="T33" fmla="*/ 118 h 236"/>
                  <a:gd name="T34" fmla="*/ 236 w 236"/>
                  <a:gd name="T35" fmla="*/ 130 h 236"/>
                  <a:gd name="T36" fmla="*/ 226 w 236"/>
                  <a:gd name="T37" fmla="*/ 164 h 236"/>
                  <a:gd name="T38" fmla="*/ 202 w 236"/>
                  <a:gd name="T39" fmla="*/ 200 h 236"/>
                  <a:gd name="T40" fmla="*/ 164 w 236"/>
                  <a:gd name="T41" fmla="*/ 226 h 236"/>
                  <a:gd name="T42" fmla="*/ 130 w 236"/>
                  <a:gd name="T43" fmla="*/ 234 h 236"/>
                  <a:gd name="T44" fmla="*/ 118 w 236"/>
                  <a:gd name="T45" fmla="*/ 236 h 236"/>
                  <a:gd name="T46" fmla="*/ 118 w 236"/>
                  <a:gd name="T47" fmla="*/ 28 h 236"/>
                  <a:gd name="T48" fmla="*/ 84 w 236"/>
                  <a:gd name="T49" fmla="*/ 36 h 236"/>
                  <a:gd name="T50" fmla="*/ 54 w 236"/>
                  <a:gd name="T51" fmla="*/ 54 h 236"/>
                  <a:gd name="T52" fmla="*/ 36 w 236"/>
                  <a:gd name="T53" fmla="*/ 82 h 236"/>
                  <a:gd name="T54" fmla="*/ 28 w 236"/>
                  <a:gd name="T55" fmla="*/ 118 h 236"/>
                  <a:gd name="T56" fmla="*/ 30 w 236"/>
                  <a:gd name="T57" fmla="*/ 136 h 236"/>
                  <a:gd name="T58" fmla="*/ 44 w 236"/>
                  <a:gd name="T59" fmla="*/ 168 h 236"/>
                  <a:gd name="T60" fmla="*/ 68 w 236"/>
                  <a:gd name="T61" fmla="*/ 192 h 236"/>
                  <a:gd name="T62" fmla="*/ 100 w 236"/>
                  <a:gd name="T63" fmla="*/ 206 h 236"/>
                  <a:gd name="T64" fmla="*/ 118 w 236"/>
                  <a:gd name="T65" fmla="*/ 208 h 236"/>
                  <a:gd name="T66" fmla="*/ 154 w 236"/>
                  <a:gd name="T67" fmla="*/ 200 h 236"/>
                  <a:gd name="T68" fmla="*/ 182 w 236"/>
                  <a:gd name="T69" fmla="*/ 182 h 236"/>
                  <a:gd name="T70" fmla="*/ 200 w 236"/>
                  <a:gd name="T71" fmla="*/ 152 h 236"/>
                  <a:gd name="T72" fmla="*/ 208 w 236"/>
                  <a:gd name="T73" fmla="*/ 118 h 236"/>
                  <a:gd name="T74" fmla="*/ 206 w 236"/>
                  <a:gd name="T75" fmla="*/ 100 h 236"/>
                  <a:gd name="T76" fmla="*/ 192 w 236"/>
                  <a:gd name="T77" fmla="*/ 68 h 236"/>
                  <a:gd name="T78" fmla="*/ 168 w 236"/>
                  <a:gd name="T79" fmla="*/ 44 h 236"/>
                  <a:gd name="T80" fmla="*/ 136 w 236"/>
                  <a:gd name="T81" fmla="*/ 30 h 236"/>
                  <a:gd name="T82" fmla="*/ 118 w 236"/>
                  <a:gd name="T83" fmla="*/ 2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6" h="236">
                    <a:moveTo>
                      <a:pt x="118" y="236"/>
                    </a:moveTo>
                    <a:lnTo>
                      <a:pt x="118" y="236"/>
                    </a:lnTo>
                    <a:lnTo>
                      <a:pt x="106" y="234"/>
                    </a:lnTo>
                    <a:lnTo>
                      <a:pt x="94" y="234"/>
                    </a:lnTo>
                    <a:lnTo>
                      <a:pt x="72" y="226"/>
                    </a:lnTo>
                    <a:lnTo>
                      <a:pt x="52" y="216"/>
                    </a:lnTo>
                    <a:lnTo>
                      <a:pt x="34" y="200"/>
                    </a:lnTo>
                    <a:lnTo>
                      <a:pt x="20" y="184"/>
                    </a:lnTo>
                    <a:lnTo>
                      <a:pt x="10" y="164"/>
                    </a:lnTo>
                    <a:lnTo>
                      <a:pt x="2" y="142"/>
                    </a:lnTo>
                    <a:lnTo>
                      <a:pt x="2" y="130"/>
                    </a:lnTo>
                    <a:lnTo>
                      <a:pt x="0" y="118"/>
                    </a:lnTo>
                    <a:lnTo>
                      <a:pt x="0" y="118"/>
                    </a:lnTo>
                    <a:lnTo>
                      <a:pt x="2" y="106"/>
                    </a:lnTo>
                    <a:lnTo>
                      <a:pt x="2" y="94"/>
                    </a:lnTo>
                    <a:lnTo>
                      <a:pt x="10" y="72"/>
                    </a:lnTo>
                    <a:lnTo>
                      <a:pt x="20" y="52"/>
                    </a:lnTo>
                    <a:lnTo>
                      <a:pt x="34" y="34"/>
                    </a:lnTo>
                    <a:lnTo>
                      <a:pt x="52" y="20"/>
                    </a:lnTo>
                    <a:lnTo>
                      <a:pt x="72" y="10"/>
                    </a:lnTo>
                    <a:lnTo>
                      <a:pt x="94" y="2"/>
                    </a:lnTo>
                    <a:lnTo>
                      <a:pt x="106" y="0"/>
                    </a:lnTo>
                    <a:lnTo>
                      <a:pt x="118" y="0"/>
                    </a:lnTo>
                    <a:lnTo>
                      <a:pt x="118" y="0"/>
                    </a:lnTo>
                    <a:lnTo>
                      <a:pt x="130" y="0"/>
                    </a:lnTo>
                    <a:lnTo>
                      <a:pt x="142" y="2"/>
                    </a:lnTo>
                    <a:lnTo>
                      <a:pt x="164" y="10"/>
                    </a:lnTo>
                    <a:lnTo>
                      <a:pt x="184" y="20"/>
                    </a:lnTo>
                    <a:lnTo>
                      <a:pt x="202" y="34"/>
                    </a:lnTo>
                    <a:lnTo>
                      <a:pt x="216" y="52"/>
                    </a:lnTo>
                    <a:lnTo>
                      <a:pt x="226" y="72"/>
                    </a:lnTo>
                    <a:lnTo>
                      <a:pt x="234" y="94"/>
                    </a:lnTo>
                    <a:lnTo>
                      <a:pt x="236" y="106"/>
                    </a:lnTo>
                    <a:lnTo>
                      <a:pt x="236" y="118"/>
                    </a:lnTo>
                    <a:lnTo>
                      <a:pt x="236" y="118"/>
                    </a:lnTo>
                    <a:lnTo>
                      <a:pt x="236" y="130"/>
                    </a:lnTo>
                    <a:lnTo>
                      <a:pt x="234" y="142"/>
                    </a:lnTo>
                    <a:lnTo>
                      <a:pt x="226" y="164"/>
                    </a:lnTo>
                    <a:lnTo>
                      <a:pt x="216" y="184"/>
                    </a:lnTo>
                    <a:lnTo>
                      <a:pt x="202" y="200"/>
                    </a:lnTo>
                    <a:lnTo>
                      <a:pt x="184" y="216"/>
                    </a:lnTo>
                    <a:lnTo>
                      <a:pt x="164" y="226"/>
                    </a:lnTo>
                    <a:lnTo>
                      <a:pt x="142" y="234"/>
                    </a:lnTo>
                    <a:lnTo>
                      <a:pt x="130" y="234"/>
                    </a:lnTo>
                    <a:lnTo>
                      <a:pt x="118" y="236"/>
                    </a:lnTo>
                    <a:lnTo>
                      <a:pt x="118" y="236"/>
                    </a:lnTo>
                    <a:close/>
                    <a:moveTo>
                      <a:pt x="118" y="28"/>
                    </a:moveTo>
                    <a:lnTo>
                      <a:pt x="118" y="28"/>
                    </a:lnTo>
                    <a:lnTo>
                      <a:pt x="100" y="30"/>
                    </a:lnTo>
                    <a:lnTo>
                      <a:pt x="84" y="36"/>
                    </a:lnTo>
                    <a:lnTo>
                      <a:pt x="68" y="44"/>
                    </a:lnTo>
                    <a:lnTo>
                      <a:pt x="54" y="54"/>
                    </a:lnTo>
                    <a:lnTo>
                      <a:pt x="44" y="68"/>
                    </a:lnTo>
                    <a:lnTo>
                      <a:pt x="36" y="82"/>
                    </a:lnTo>
                    <a:lnTo>
                      <a:pt x="30" y="100"/>
                    </a:lnTo>
                    <a:lnTo>
                      <a:pt x="28" y="118"/>
                    </a:lnTo>
                    <a:lnTo>
                      <a:pt x="28" y="118"/>
                    </a:lnTo>
                    <a:lnTo>
                      <a:pt x="30" y="136"/>
                    </a:lnTo>
                    <a:lnTo>
                      <a:pt x="36" y="152"/>
                    </a:lnTo>
                    <a:lnTo>
                      <a:pt x="44" y="168"/>
                    </a:lnTo>
                    <a:lnTo>
                      <a:pt x="54" y="182"/>
                    </a:lnTo>
                    <a:lnTo>
                      <a:pt x="68" y="192"/>
                    </a:lnTo>
                    <a:lnTo>
                      <a:pt x="84" y="200"/>
                    </a:lnTo>
                    <a:lnTo>
                      <a:pt x="100" y="206"/>
                    </a:lnTo>
                    <a:lnTo>
                      <a:pt x="118" y="208"/>
                    </a:lnTo>
                    <a:lnTo>
                      <a:pt x="118" y="208"/>
                    </a:lnTo>
                    <a:lnTo>
                      <a:pt x="136" y="206"/>
                    </a:lnTo>
                    <a:lnTo>
                      <a:pt x="154" y="200"/>
                    </a:lnTo>
                    <a:lnTo>
                      <a:pt x="168" y="192"/>
                    </a:lnTo>
                    <a:lnTo>
                      <a:pt x="182" y="182"/>
                    </a:lnTo>
                    <a:lnTo>
                      <a:pt x="192" y="168"/>
                    </a:lnTo>
                    <a:lnTo>
                      <a:pt x="200" y="152"/>
                    </a:lnTo>
                    <a:lnTo>
                      <a:pt x="206" y="136"/>
                    </a:lnTo>
                    <a:lnTo>
                      <a:pt x="208" y="118"/>
                    </a:lnTo>
                    <a:lnTo>
                      <a:pt x="208" y="118"/>
                    </a:lnTo>
                    <a:lnTo>
                      <a:pt x="206" y="100"/>
                    </a:lnTo>
                    <a:lnTo>
                      <a:pt x="200" y="82"/>
                    </a:lnTo>
                    <a:lnTo>
                      <a:pt x="192" y="68"/>
                    </a:lnTo>
                    <a:lnTo>
                      <a:pt x="182" y="54"/>
                    </a:lnTo>
                    <a:lnTo>
                      <a:pt x="168" y="44"/>
                    </a:lnTo>
                    <a:lnTo>
                      <a:pt x="154" y="36"/>
                    </a:lnTo>
                    <a:lnTo>
                      <a:pt x="136" y="30"/>
                    </a:lnTo>
                    <a:lnTo>
                      <a:pt x="118" y="28"/>
                    </a:lnTo>
                    <a:lnTo>
                      <a:pt x="11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latin typeface="Segoe UI"/>
                </a:endParaRPr>
              </a:p>
            </p:txBody>
          </p:sp>
          <p:sp>
            <p:nvSpPr>
              <p:cNvPr id="30" name="Freeform 8"/>
              <p:cNvSpPr>
                <a:spLocks noEditPoints="1"/>
              </p:cNvSpPr>
              <p:nvPr/>
            </p:nvSpPr>
            <p:spPr bwMode="auto">
              <a:xfrm>
                <a:off x="6817360" y="7567432"/>
                <a:ext cx="476250" cy="523875"/>
              </a:xfrm>
              <a:custGeom>
                <a:avLst/>
                <a:gdLst>
                  <a:gd name="T0" fmla="*/ 46 w 300"/>
                  <a:gd name="T1" fmla="*/ 330 h 330"/>
                  <a:gd name="T2" fmla="*/ 32 w 300"/>
                  <a:gd name="T3" fmla="*/ 158 h 330"/>
                  <a:gd name="T4" fmla="*/ 22 w 300"/>
                  <a:gd name="T5" fmla="*/ 114 h 330"/>
                  <a:gd name="T6" fmla="*/ 4 w 300"/>
                  <a:gd name="T7" fmla="*/ 70 h 330"/>
                  <a:gd name="T8" fmla="*/ 6 w 300"/>
                  <a:gd name="T9" fmla="*/ 54 h 330"/>
                  <a:gd name="T10" fmla="*/ 18 w 300"/>
                  <a:gd name="T11" fmla="*/ 42 h 330"/>
                  <a:gd name="T12" fmla="*/ 44 w 300"/>
                  <a:gd name="T13" fmla="*/ 22 h 330"/>
                  <a:gd name="T14" fmla="*/ 74 w 300"/>
                  <a:gd name="T15" fmla="*/ 8 h 330"/>
                  <a:gd name="T16" fmla="*/ 106 w 300"/>
                  <a:gd name="T17" fmla="*/ 2 h 330"/>
                  <a:gd name="T18" fmla="*/ 122 w 300"/>
                  <a:gd name="T19" fmla="*/ 0 h 330"/>
                  <a:gd name="T20" fmla="*/ 154 w 300"/>
                  <a:gd name="T21" fmla="*/ 4 h 330"/>
                  <a:gd name="T22" fmla="*/ 182 w 300"/>
                  <a:gd name="T23" fmla="*/ 14 h 330"/>
                  <a:gd name="T24" fmla="*/ 210 w 300"/>
                  <a:gd name="T25" fmla="*/ 28 h 330"/>
                  <a:gd name="T26" fmla="*/ 232 w 300"/>
                  <a:gd name="T27" fmla="*/ 48 h 330"/>
                  <a:gd name="T28" fmla="*/ 252 w 300"/>
                  <a:gd name="T29" fmla="*/ 72 h 330"/>
                  <a:gd name="T30" fmla="*/ 268 w 300"/>
                  <a:gd name="T31" fmla="*/ 98 h 330"/>
                  <a:gd name="T32" fmla="*/ 280 w 300"/>
                  <a:gd name="T33" fmla="*/ 130 h 330"/>
                  <a:gd name="T34" fmla="*/ 284 w 300"/>
                  <a:gd name="T35" fmla="*/ 162 h 330"/>
                  <a:gd name="T36" fmla="*/ 72 w 300"/>
                  <a:gd name="T37" fmla="*/ 302 h 330"/>
                  <a:gd name="T38" fmla="*/ 256 w 300"/>
                  <a:gd name="T39" fmla="*/ 164 h 330"/>
                  <a:gd name="T40" fmla="*/ 252 w 300"/>
                  <a:gd name="T41" fmla="*/ 140 h 330"/>
                  <a:gd name="T42" fmla="*/ 232 w 300"/>
                  <a:gd name="T43" fmla="*/ 92 h 330"/>
                  <a:gd name="T44" fmla="*/ 208 w 300"/>
                  <a:gd name="T45" fmla="*/ 62 h 330"/>
                  <a:gd name="T46" fmla="*/ 188 w 300"/>
                  <a:gd name="T47" fmla="*/ 46 h 330"/>
                  <a:gd name="T48" fmla="*/ 164 w 300"/>
                  <a:gd name="T49" fmla="*/ 36 h 330"/>
                  <a:gd name="T50" fmla="*/ 136 w 300"/>
                  <a:gd name="T51" fmla="*/ 30 h 330"/>
                  <a:gd name="T52" fmla="*/ 122 w 300"/>
                  <a:gd name="T53" fmla="*/ 28 h 330"/>
                  <a:gd name="T54" fmla="*/ 98 w 300"/>
                  <a:gd name="T55" fmla="*/ 32 h 330"/>
                  <a:gd name="T56" fmla="*/ 52 w 300"/>
                  <a:gd name="T57" fmla="*/ 50 h 330"/>
                  <a:gd name="T58" fmla="*/ 34 w 300"/>
                  <a:gd name="T59" fmla="*/ 66 h 330"/>
                  <a:gd name="T60" fmla="*/ 52 w 300"/>
                  <a:gd name="T61" fmla="*/ 110 h 330"/>
                  <a:gd name="T62" fmla="*/ 60 w 300"/>
                  <a:gd name="T63" fmla="*/ 15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0" h="330">
                    <a:moveTo>
                      <a:pt x="300" y="330"/>
                    </a:moveTo>
                    <a:lnTo>
                      <a:pt x="46" y="330"/>
                    </a:lnTo>
                    <a:lnTo>
                      <a:pt x="32" y="158"/>
                    </a:lnTo>
                    <a:lnTo>
                      <a:pt x="32" y="158"/>
                    </a:lnTo>
                    <a:lnTo>
                      <a:pt x="28" y="136"/>
                    </a:lnTo>
                    <a:lnTo>
                      <a:pt x="22" y="114"/>
                    </a:lnTo>
                    <a:lnTo>
                      <a:pt x="14" y="92"/>
                    </a:lnTo>
                    <a:lnTo>
                      <a:pt x="4" y="70"/>
                    </a:lnTo>
                    <a:lnTo>
                      <a:pt x="0" y="62"/>
                    </a:lnTo>
                    <a:lnTo>
                      <a:pt x="6" y="54"/>
                    </a:lnTo>
                    <a:lnTo>
                      <a:pt x="6" y="54"/>
                    </a:lnTo>
                    <a:lnTo>
                      <a:pt x="18" y="42"/>
                    </a:lnTo>
                    <a:lnTo>
                      <a:pt x="30" y="32"/>
                    </a:lnTo>
                    <a:lnTo>
                      <a:pt x="44" y="22"/>
                    </a:lnTo>
                    <a:lnTo>
                      <a:pt x="58" y="14"/>
                    </a:lnTo>
                    <a:lnTo>
                      <a:pt x="74" y="8"/>
                    </a:lnTo>
                    <a:lnTo>
                      <a:pt x="90" y="4"/>
                    </a:lnTo>
                    <a:lnTo>
                      <a:pt x="106" y="2"/>
                    </a:lnTo>
                    <a:lnTo>
                      <a:pt x="122" y="0"/>
                    </a:lnTo>
                    <a:lnTo>
                      <a:pt x="122" y="0"/>
                    </a:lnTo>
                    <a:lnTo>
                      <a:pt x="138" y="2"/>
                    </a:lnTo>
                    <a:lnTo>
                      <a:pt x="154" y="4"/>
                    </a:lnTo>
                    <a:lnTo>
                      <a:pt x="168" y="8"/>
                    </a:lnTo>
                    <a:lnTo>
                      <a:pt x="182" y="14"/>
                    </a:lnTo>
                    <a:lnTo>
                      <a:pt x="196" y="20"/>
                    </a:lnTo>
                    <a:lnTo>
                      <a:pt x="210" y="28"/>
                    </a:lnTo>
                    <a:lnTo>
                      <a:pt x="222" y="38"/>
                    </a:lnTo>
                    <a:lnTo>
                      <a:pt x="232" y="48"/>
                    </a:lnTo>
                    <a:lnTo>
                      <a:pt x="244" y="58"/>
                    </a:lnTo>
                    <a:lnTo>
                      <a:pt x="252" y="72"/>
                    </a:lnTo>
                    <a:lnTo>
                      <a:pt x="260" y="84"/>
                    </a:lnTo>
                    <a:lnTo>
                      <a:pt x="268" y="98"/>
                    </a:lnTo>
                    <a:lnTo>
                      <a:pt x="274" y="114"/>
                    </a:lnTo>
                    <a:lnTo>
                      <a:pt x="280" y="130"/>
                    </a:lnTo>
                    <a:lnTo>
                      <a:pt x="282" y="146"/>
                    </a:lnTo>
                    <a:lnTo>
                      <a:pt x="284" y="162"/>
                    </a:lnTo>
                    <a:lnTo>
                      <a:pt x="300" y="330"/>
                    </a:lnTo>
                    <a:close/>
                    <a:moveTo>
                      <a:pt x="72" y="302"/>
                    </a:moveTo>
                    <a:lnTo>
                      <a:pt x="268" y="302"/>
                    </a:lnTo>
                    <a:lnTo>
                      <a:pt x="256" y="164"/>
                    </a:lnTo>
                    <a:lnTo>
                      <a:pt x="256" y="164"/>
                    </a:lnTo>
                    <a:lnTo>
                      <a:pt x="252" y="140"/>
                    </a:lnTo>
                    <a:lnTo>
                      <a:pt x="244" y="114"/>
                    </a:lnTo>
                    <a:lnTo>
                      <a:pt x="232" y="92"/>
                    </a:lnTo>
                    <a:lnTo>
                      <a:pt x="216" y="72"/>
                    </a:lnTo>
                    <a:lnTo>
                      <a:pt x="208" y="62"/>
                    </a:lnTo>
                    <a:lnTo>
                      <a:pt x="198" y="54"/>
                    </a:lnTo>
                    <a:lnTo>
                      <a:pt x="188" y="46"/>
                    </a:lnTo>
                    <a:lnTo>
                      <a:pt x="176" y="40"/>
                    </a:lnTo>
                    <a:lnTo>
                      <a:pt x="164" y="36"/>
                    </a:lnTo>
                    <a:lnTo>
                      <a:pt x="150" y="32"/>
                    </a:lnTo>
                    <a:lnTo>
                      <a:pt x="136" y="30"/>
                    </a:lnTo>
                    <a:lnTo>
                      <a:pt x="122" y="28"/>
                    </a:lnTo>
                    <a:lnTo>
                      <a:pt x="122" y="28"/>
                    </a:lnTo>
                    <a:lnTo>
                      <a:pt x="110" y="30"/>
                    </a:lnTo>
                    <a:lnTo>
                      <a:pt x="98" y="32"/>
                    </a:lnTo>
                    <a:lnTo>
                      <a:pt x="74" y="38"/>
                    </a:lnTo>
                    <a:lnTo>
                      <a:pt x="52" y="50"/>
                    </a:lnTo>
                    <a:lnTo>
                      <a:pt x="34" y="66"/>
                    </a:lnTo>
                    <a:lnTo>
                      <a:pt x="34" y="66"/>
                    </a:lnTo>
                    <a:lnTo>
                      <a:pt x="44" y="88"/>
                    </a:lnTo>
                    <a:lnTo>
                      <a:pt x="52" y="110"/>
                    </a:lnTo>
                    <a:lnTo>
                      <a:pt x="56" y="132"/>
                    </a:lnTo>
                    <a:lnTo>
                      <a:pt x="60" y="156"/>
                    </a:lnTo>
                    <a:lnTo>
                      <a:pt x="72" y="3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latin typeface="Segoe UI"/>
                </a:endParaRPr>
              </a:p>
            </p:txBody>
          </p:sp>
        </p:grpSp>
        <p:grpSp>
          <p:nvGrpSpPr>
            <p:cNvPr id="10" name="Group 9"/>
            <p:cNvGrpSpPr/>
            <p:nvPr/>
          </p:nvGrpSpPr>
          <p:grpSpPr>
            <a:xfrm>
              <a:off x="10034296" y="5129436"/>
              <a:ext cx="385751" cy="482188"/>
              <a:chOff x="2954338" y="6831013"/>
              <a:chExt cx="1041400" cy="1301750"/>
            </a:xfrm>
            <a:solidFill>
              <a:srgbClr val="0078D7"/>
            </a:solidFill>
          </p:grpSpPr>
          <p:sp>
            <p:nvSpPr>
              <p:cNvPr id="25" name="Freeform 36"/>
              <p:cNvSpPr>
                <a:spLocks noEditPoints="1"/>
              </p:cNvSpPr>
              <p:nvPr/>
            </p:nvSpPr>
            <p:spPr bwMode="auto">
              <a:xfrm>
                <a:off x="3195638" y="7329488"/>
                <a:ext cx="390525" cy="393700"/>
              </a:xfrm>
              <a:custGeom>
                <a:avLst/>
                <a:gdLst>
                  <a:gd name="T0" fmla="*/ 122 w 246"/>
                  <a:gd name="T1" fmla="*/ 248 h 248"/>
                  <a:gd name="T2" fmla="*/ 98 w 246"/>
                  <a:gd name="T3" fmla="*/ 244 h 248"/>
                  <a:gd name="T4" fmla="*/ 74 w 246"/>
                  <a:gd name="T5" fmla="*/ 238 h 248"/>
                  <a:gd name="T6" fmla="*/ 36 w 246"/>
                  <a:gd name="T7" fmla="*/ 210 h 248"/>
                  <a:gd name="T8" fmla="*/ 8 w 246"/>
                  <a:gd name="T9" fmla="*/ 172 h 248"/>
                  <a:gd name="T10" fmla="*/ 2 w 246"/>
                  <a:gd name="T11" fmla="*/ 148 h 248"/>
                  <a:gd name="T12" fmla="*/ 0 w 246"/>
                  <a:gd name="T13" fmla="*/ 124 h 248"/>
                  <a:gd name="T14" fmla="*/ 0 w 246"/>
                  <a:gd name="T15" fmla="*/ 112 h 248"/>
                  <a:gd name="T16" fmla="*/ 4 w 246"/>
                  <a:gd name="T17" fmla="*/ 88 h 248"/>
                  <a:gd name="T18" fmla="*/ 20 w 246"/>
                  <a:gd name="T19" fmla="*/ 56 h 248"/>
                  <a:gd name="T20" fmla="*/ 54 w 246"/>
                  <a:gd name="T21" fmla="*/ 22 h 248"/>
                  <a:gd name="T22" fmla="*/ 86 w 246"/>
                  <a:gd name="T23" fmla="*/ 6 h 248"/>
                  <a:gd name="T24" fmla="*/ 110 w 246"/>
                  <a:gd name="T25" fmla="*/ 2 h 248"/>
                  <a:gd name="T26" fmla="*/ 122 w 246"/>
                  <a:gd name="T27" fmla="*/ 0 h 248"/>
                  <a:gd name="T28" fmla="*/ 148 w 246"/>
                  <a:gd name="T29" fmla="*/ 4 h 248"/>
                  <a:gd name="T30" fmla="*/ 170 w 246"/>
                  <a:gd name="T31" fmla="*/ 10 h 248"/>
                  <a:gd name="T32" fmla="*/ 210 w 246"/>
                  <a:gd name="T33" fmla="*/ 36 h 248"/>
                  <a:gd name="T34" fmla="*/ 236 w 246"/>
                  <a:gd name="T35" fmla="*/ 76 h 248"/>
                  <a:gd name="T36" fmla="*/ 242 w 246"/>
                  <a:gd name="T37" fmla="*/ 100 h 248"/>
                  <a:gd name="T38" fmla="*/ 246 w 246"/>
                  <a:gd name="T39" fmla="*/ 124 h 248"/>
                  <a:gd name="T40" fmla="*/ 244 w 246"/>
                  <a:gd name="T41" fmla="*/ 136 h 248"/>
                  <a:gd name="T42" fmla="*/ 240 w 246"/>
                  <a:gd name="T43" fmla="*/ 160 h 248"/>
                  <a:gd name="T44" fmla="*/ 224 w 246"/>
                  <a:gd name="T45" fmla="*/ 192 h 248"/>
                  <a:gd name="T46" fmla="*/ 192 w 246"/>
                  <a:gd name="T47" fmla="*/ 226 h 248"/>
                  <a:gd name="T48" fmla="*/ 158 w 246"/>
                  <a:gd name="T49" fmla="*/ 242 h 248"/>
                  <a:gd name="T50" fmla="*/ 134 w 246"/>
                  <a:gd name="T51" fmla="*/ 246 h 248"/>
                  <a:gd name="T52" fmla="*/ 122 w 246"/>
                  <a:gd name="T53" fmla="*/ 248 h 248"/>
                  <a:gd name="T54" fmla="*/ 122 w 246"/>
                  <a:gd name="T55" fmla="*/ 28 h 248"/>
                  <a:gd name="T56" fmla="*/ 86 w 246"/>
                  <a:gd name="T57" fmla="*/ 36 h 248"/>
                  <a:gd name="T58" fmla="*/ 56 w 246"/>
                  <a:gd name="T59" fmla="*/ 56 h 248"/>
                  <a:gd name="T60" fmla="*/ 34 w 246"/>
                  <a:gd name="T61" fmla="*/ 86 h 248"/>
                  <a:gd name="T62" fmla="*/ 28 w 246"/>
                  <a:gd name="T63" fmla="*/ 124 h 248"/>
                  <a:gd name="T64" fmla="*/ 30 w 246"/>
                  <a:gd name="T65" fmla="*/ 144 h 248"/>
                  <a:gd name="T66" fmla="*/ 44 w 246"/>
                  <a:gd name="T67" fmla="*/ 178 h 248"/>
                  <a:gd name="T68" fmla="*/ 70 w 246"/>
                  <a:gd name="T69" fmla="*/ 202 h 248"/>
                  <a:gd name="T70" fmla="*/ 104 w 246"/>
                  <a:gd name="T71" fmla="*/ 218 h 248"/>
                  <a:gd name="T72" fmla="*/ 122 w 246"/>
                  <a:gd name="T73" fmla="*/ 220 h 248"/>
                  <a:gd name="T74" fmla="*/ 160 w 246"/>
                  <a:gd name="T75" fmla="*/ 212 h 248"/>
                  <a:gd name="T76" fmla="*/ 190 w 246"/>
                  <a:gd name="T77" fmla="*/ 192 h 248"/>
                  <a:gd name="T78" fmla="*/ 210 w 246"/>
                  <a:gd name="T79" fmla="*/ 160 h 248"/>
                  <a:gd name="T80" fmla="*/ 218 w 246"/>
                  <a:gd name="T81" fmla="*/ 124 h 248"/>
                  <a:gd name="T82" fmla="*/ 216 w 246"/>
                  <a:gd name="T83" fmla="*/ 104 h 248"/>
                  <a:gd name="T84" fmla="*/ 202 w 246"/>
                  <a:gd name="T85" fmla="*/ 70 h 248"/>
                  <a:gd name="T86" fmla="*/ 176 w 246"/>
                  <a:gd name="T87" fmla="*/ 46 h 248"/>
                  <a:gd name="T88" fmla="*/ 142 w 246"/>
                  <a:gd name="T89" fmla="*/ 30 h 248"/>
                  <a:gd name="T90" fmla="*/ 122 w 246"/>
                  <a:gd name="T91" fmla="*/ 2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6" h="248">
                    <a:moveTo>
                      <a:pt x="122" y="248"/>
                    </a:moveTo>
                    <a:lnTo>
                      <a:pt x="122" y="248"/>
                    </a:lnTo>
                    <a:lnTo>
                      <a:pt x="110" y="246"/>
                    </a:lnTo>
                    <a:lnTo>
                      <a:pt x="98" y="244"/>
                    </a:lnTo>
                    <a:lnTo>
                      <a:pt x="86" y="242"/>
                    </a:lnTo>
                    <a:lnTo>
                      <a:pt x="74" y="238"/>
                    </a:lnTo>
                    <a:lnTo>
                      <a:pt x="54" y="226"/>
                    </a:lnTo>
                    <a:lnTo>
                      <a:pt x="36" y="210"/>
                    </a:lnTo>
                    <a:lnTo>
                      <a:pt x="20" y="192"/>
                    </a:lnTo>
                    <a:lnTo>
                      <a:pt x="8" y="172"/>
                    </a:lnTo>
                    <a:lnTo>
                      <a:pt x="4" y="160"/>
                    </a:lnTo>
                    <a:lnTo>
                      <a:pt x="2" y="148"/>
                    </a:lnTo>
                    <a:lnTo>
                      <a:pt x="0" y="136"/>
                    </a:lnTo>
                    <a:lnTo>
                      <a:pt x="0" y="124"/>
                    </a:lnTo>
                    <a:lnTo>
                      <a:pt x="0" y="124"/>
                    </a:lnTo>
                    <a:lnTo>
                      <a:pt x="0" y="112"/>
                    </a:lnTo>
                    <a:lnTo>
                      <a:pt x="2" y="100"/>
                    </a:lnTo>
                    <a:lnTo>
                      <a:pt x="4" y="88"/>
                    </a:lnTo>
                    <a:lnTo>
                      <a:pt x="8" y="76"/>
                    </a:lnTo>
                    <a:lnTo>
                      <a:pt x="20" y="56"/>
                    </a:lnTo>
                    <a:lnTo>
                      <a:pt x="36" y="36"/>
                    </a:lnTo>
                    <a:lnTo>
                      <a:pt x="54" y="22"/>
                    </a:lnTo>
                    <a:lnTo>
                      <a:pt x="74" y="10"/>
                    </a:lnTo>
                    <a:lnTo>
                      <a:pt x="86" y="6"/>
                    </a:lnTo>
                    <a:lnTo>
                      <a:pt x="98" y="4"/>
                    </a:lnTo>
                    <a:lnTo>
                      <a:pt x="110" y="2"/>
                    </a:lnTo>
                    <a:lnTo>
                      <a:pt x="122" y="0"/>
                    </a:lnTo>
                    <a:lnTo>
                      <a:pt x="122" y="0"/>
                    </a:lnTo>
                    <a:lnTo>
                      <a:pt x="134" y="2"/>
                    </a:lnTo>
                    <a:lnTo>
                      <a:pt x="148" y="4"/>
                    </a:lnTo>
                    <a:lnTo>
                      <a:pt x="158" y="6"/>
                    </a:lnTo>
                    <a:lnTo>
                      <a:pt x="170" y="10"/>
                    </a:lnTo>
                    <a:lnTo>
                      <a:pt x="192" y="22"/>
                    </a:lnTo>
                    <a:lnTo>
                      <a:pt x="210" y="36"/>
                    </a:lnTo>
                    <a:lnTo>
                      <a:pt x="224" y="56"/>
                    </a:lnTo>
                    <a:lnTo>
                      <a:pt x="236" y="76"/>
                    </a:lnTo>
                    <a:lnTo>
                      <a:pt x="240" y="88"/>
                    </a:lnTo>
                    <a:lnTo>
                      <a:pt x="242" y="100"/>
                    </a:lnTo>
                    <a:lnTo>
                      <a:pt x="244" y="112"/>
                    </a:lnTo>
                    <a:lnTo>
                      <a:pt x="246" y="124"/>
                    </a:lnTo>
                    <a:lnTo>
                      <a:pt x="246" y="124"/>
                    </a:lnTo>
                    <a:lnTo>
                      <a:pt x="244" y="136"/>
                    </a:lnTo>
                    <a:lnTo>
                      <a:pt x="242" y="148"/>
                    </a:lnTo>
                    <a:lnTo>
                      <a:pt x="240" y="160"/>
                    </a:lnTo>
                    <a:lnTo>
                      <a:pt x="236" y="172"/>
                    </a:lnTo>
                    <a:lnTo>
                      <a:pt x="224" y="192"/>
                    </a:lnTo>
                    <a:lnTo>
                      <a:pt x="210" y="210"/>
                    </a:lnTo>
                    <a:lnTo>
                      <a:pt x="192" y="226"/>
                    </a:lnTo>
                    <a:lnTo>
                      <a:pt x="170" y="238"/>
                    </a:lnTo>
                    <a:lnTo>
                      <a:pt x="158" y="242"/>
                    </a:lnTo>
                    <a:lnTo>
                      <a:pt x="148" y="244"/>
                    </a:lnTo>
                    <a:lnTo>
                      <a:pt x="134" y="246"/>
                    </a:lnTo>
                    <a:lnTo>
                      <a:pt x="122" y="248"/>
                    </a:lnTo>
                    <a:lnTo>
                      <a:pt x="122" y="248"/>
                    </a:lnTo>
                    <a:close/>
                    <a:moveTo>
                      <a:pt x="122" y="28"/>
                    </a:moveTo>
                    <a:lnTo>
                      <a:pt x="122" y="28"/>
                    </a:lnTo>
                    <a:lnTo>
                      <a:pt x="104" y="30"/>
                    </a:lnTo>
                    <a:lnTo>
                      <a:pt x="86" y="36"/>
                    </a:lnTo>
                    <a:lnTo>
                      <a:pt x="70" y="46"/>
                    </a:lnTo>
                    <a:lnTo>
                      <a:pt x="56" y="56"/>
                    </a:lnTo>
                    <a:lnTo>
                      <a:pt x="44" y="70"/>
                    </a:lnTo>
                    <a:lnTo>
                      <a:pt x="34" y="86"/>
                    </a:lnTo>
                    <a:lnTo>
                      <a:pt x="30" y="104"/>
                    </a:lnTo>
                    <a:lnTo>
                      <a:pt x="28" y="124"/>
                    </a:lnTo>
                    <a:lnTo>
                      <a:pt x="28" y="124"/>
                    </a:lnTo>
                    <a:lnTo>
                      <a:pt x="30" y="144"/>
                    </a:lnTo>
                    <a:lnTo>
                      <a:pt x="34" y="160"/>
                    </a:lnTo>
                    <a:lnTo>
                      <a:pt x="44" y="178"/>
                    </a:lnTo>
                    <a:lnTo>
                      <a:pt x="56" y="192"/>
                    </a:lnTo>
                    <a:lnTo>
                      <a:pt x="70" y="202"/>
                    </a:lnTo>
                    <a:lnTo>
                      <a:pt x="86" y="212"/>
                    </a:lnTo>
                    <a:lnTo>
                      <a:pt x="104" y="218"/>
                    </a:lnTo>
                    <a:lnTo>
                      <a:pt x="122" y="220"/>
                    </a:lnTo>
                    <a:lnTo>
                      <a:pt x="122" y="220"/>
                    </a:lnTo>
                    <a:lnTo>
                      <a:pt x="142" y="218"/>
                    </a:lnTo>
                    <a:lnTo>
                      <a:pt x="160" y="212"/>
                    </a:lnTo>
                    <a:lnTo>
                      <a:pt x="176" y="202"/>
                    </a:lnTo>
                    <a:lnTo>
                      <a:pt x="190" y="192"/>
                    </a:lnTo>
                    <a:lnTo>
                      <a:pt x="202" y="178"/>
                    </a:lnTo>
                    <a:lnTo>
                      <a:pt x="210" y="160"/>
                    </a:lnTo>
                    <a:lnTo>
                      <a:pt x="216" y="144"/>
                    </a:lnTo>
                    <a:lnTo>
                      <a:pt x="218" y="124"/>
                    </a:lnTo>
                    <a:lnTo>
                      <a:pt x="218" y="124"/>
                    </a:lnTo>
                    <a:lnTo>
                      <a:pt x="216" y="104"/>
                    </a:lnTo>
                    <a:lnTo>
                      <a:pt x="210" y="86"/>
                    </a:lnTo>
                    <a:lnTo>
                      <a:pt x="202" y="70"/>
                    </a:lnTo>
                    <a:lnTo>
                      <a:pt x="190" y="56"/>
                    </a:lnTo>
                    <a:lnTo>
                      <a:pt x="176" y="46"/>
                    </a:lnTo>
                    <a:lnTo>
                      <a:pt x="160" y="36"/>
                    </a:lnTo>
                    <a:lnTo>
                      <a:pt x="142" y="30"/>
                    </a:lnTo>
                    <a:lnTo>
                      <a:pt x="122" y="28"/>
                    </a:lnTo>
                    <a:lnTo>
                      <a:pt x="122" y="28"/>
                    </a:lnTo>
                    <a:close/>
                  </a:path>
                </a:pathLst>
              </a:custGeom>
              <a:grpFill/>
              <a:ln>
                <a:noFill/>
              </a:ln>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latin typeface="Segoe UI"/>
                </a:endParaRPr>
              </a:p>
            </p:txBody>
          </p:sp>
          <p:sp>
            <p:nvSpPr>
              <p:cNvPr id="26" name="Freeform 37"/>
              <p:cNvSpPr>
                <a:spLocks/>
              </p:cNvSpPr>
              <p:nvPr/>
            </p:nvSpPr>
            <p:spPr bwMode="auto">
              <a:xfrm>
                <a:off x="2954338" y="6831013"/>
                <a:ext cx="1041400" cy="1301750"/>
              </a:xfrm>
              <a:custGeom>
                <a:avLst/>
                <a:gdLst>
                  <a:gd name="T0" fmla="*/ 114 w 656"/>
                  <a:gd name="T1" fmla="*/ 784 h 820"/>
                  <a:gd name="T2" fmla="*/ 80 w 656"/>
                  <a:gd name="T3" fmla="*/ 760 h 820"/>
                  <a:gd name="T4" fmla="*/ 172 w 656"/>
                  <a:gd name="T5" fmla="*/ 608 h 820"/>
                  <a:gd name="T6" fmla="*/ 238 w 656"/>
                  <a:gd name="T7" fmla="*/ 672 h 820"/>
                  <a:gd name="T8" fmla="*/ 300 w 656"/>
                  <a:gd name="T9" fmla="*/ 684 h 820"/>
                  <a:gd name="T10" fmla="*/ 328 w 656"/>
                  <a:gd name="T11" fmla="*/ 628 h 820"/>
                  <a:gd name="T12" fmla="*/ 416 w 656"/>
                  <a:gd name="T13" fmla="*/ 630 h 820"/>
                  <a:gd name="T14" fmla="*/ 466 w 656"/>
                  <a:gd name="T15" fmla="*/ 592 h 820"/>
                  <a:gd name="T16" fmla="*/ 446 w 656"/>
                  <a:gd name="T17" fmla="*/ 536 h 820"/>
                  <a:gd name="T18" fmla="*/ 512 w 656"/>
                  <a:gd name="T19" fmla="*/ 474 h 820"/>
                  <a:gd name="T20" fmla="*/ 518 w 656"/>
                  <a:gd name="T21" fmla="*/ 406 h 820"/>
                  <a:gd name="T22" fmla="*/ 464 w 656"/>
                  <a:gd name="T23" fmla="*/ 386 h 820"/>
                  <a:gd name="T24" fmla="*/ 466 w 656"/>
                  <a:gd name="T25" fmla="*/ 296 h 820"/>
                  <a:gd name="T26" fmla="*/ 424 w 656"/>
                  <a:gd name="T27" fmla="*/ 244 h 820"/>
                  <a:gd name="T28" fmla="*/ 372 w 656"/>
                  <a:gd name="T29" fmla="*/ 266 h 820"/>
                  <a:gd name="T30" fmla="*/ 310 w 656"/>
                  <a:gd name="T31" fmla="*/ 200 h 820"/>
                  <a:gd name="T32" fmla="*/ 240 w 656"/>
                  <a:gd name="T33" fmla="*/ 198 h 820"/>
                  <a:gd name="T34" fmla="*/ 198 w 656"/>
                  <a:gd name="T35" fmla="*/ 256 h 820"/>
                  <a:gd name="T36" fmla="*/ 128 w 656"/>
                  <a:gd name="T37" fmla="*/ 244 h 820"/>
                  <a:gd name="T38" fmla="*/ 82 w 656"/>
                  <a:gd name="T39" fmla="*/ 296 h 820"/>
                  <a:gd name="T40" fmla="*/ 84 w 656"/>
                  <a:gd name="T41" fmla="*/ 386 h 820"/>
                  <a:gd name="T42" fmla="*/ 32 w 656"/>
                  <a:gd name="T43" fmla="*/ 406 h 820"/>
                  <a:gd name="T44" fmla="*/ 38 w 656"/>
                  <a:gd name="T45" fmla="*/ 474 h 820"/>
                  <a:gd name="T46" fmla="*/ 102 w 656"/>
                  <a:gd name="T47" fmla="*/ 536 h 820"/>
                  <a:gd name="T48" fmla="*/ 78 w 656"/>
                  <a:gd name="T49" fmla="*/ 550 h 820"/>
                  <a:gd name="T50" fmla="*/ 10 w 656"/>
                  <a:gd name="T51" fmla="*/ 488 h 820"/>
                  <a:gd name="T52" fmla="*/ 6 w 656"/>
                  <a:gd name="T53" fmla="*/ 394 h 820"/>
                  <a:gd name="T54" fmla="*/ 74 w 656"/>
                  <a:gd name="T55" fmla="*/ 334 h 820"/>
                  <a:gd name="T56" fmla="*/ 60 w 656"/>
                  <a:gd name="T57" fmla="*/ 264 h 820"/>
                  <a:gd name="T58" fmla="*/ 138 w 656"/>
                  <a:gd name="T59" fmla="*/ 218 h 820"/>
                  <a:gd name="T60" fmla="*/ 212 w 656"/>
                  <a:gd name="T61" fmla="*/ 192 h 820"/>
                  <a:gd name="T62" fmla="*/ 296 w 656"/>
                  <a:gd name="T63" fmla="*/ 164 h 820"/>
                  <a:gd name="T64" fmla="*/ 342 w 656"/>
                  <a:gd name="T65" fmla="*/ 222 h 820"/>
                  <a:gd name="T66" fmla="*/ 426 w 656"/>
                  <a:gd name="T67" fmla="*/ 216 h 820"/>
                  <a:gd name="T68" fmla="*/ 494 w 656"/>
                  <a:gd name="T69" fmla="*/ 278 h 820"/>
                  <a:gd name="T70" fmla="*/ 490 w 656"/>
                  <a:gd name="T71" fmla="*/ 370 h 820"/>
                  <a:gd name="T72" fmla="*/ 548 w 656"/>
                  <a:gd name="T73" fmla="*/ 410 h 820"/>
                  <a:gd name="T74" fmla="*/ 528 w 656"/>
                  <a:gd name="T75" fmla="*/ 498 h 820"/>
                  <a:gd name="T76" fmla="*/ 492 w 656"/>
                  <a:gd name="T77" fmla="*/ 568 h 820"/>
                  <a:gd name="T78" fmla="*/ 452 w 656"/>
                  <a:gd name="T79" fmla="*/ 646 h 820"/>
                  <a:gd name="T80" fmla="*/ 398 w 656"/>
                  <a:gd name="T81" fmla="*/ 652 h 820"/>
                  <a:gd name="T82" fmla="*/ 330 w 656"/>
                  <a:gd name="T83" fmla="*/ 696 h 820"/>
                  <a:gd name="T84" fmla="*/ 238 w 656"/>
                  <a:gd name="T85" fmla="*/ 710 h 820"/>
                  <a:gd name="T86" fmla="*/ 176 w 656"/>
                  <a:gd name="T87" fmla="*/ 640 h 820"/>
                  <a:gd name="T88" fmla="*/ 232 w 656"/>
                  <a:gd name="T89" fmla="*/ 788 h 820"/>
                  <a:gd name="T90" fmla="*/ 472 w 656"/>
                  <a:gd name="T91" fmla="*/ 730 h 820"/>
                  <a:gd name="T92" fmla="*/ 626 w 656"/>
                  <a:gd name="T93" fmla="*/ 474 h 820"/>
                  <a:gd name="T94" fmla="*/ 546 w 656"/>
                  <a:gd name="T95" fmla="*/ 214 h 820"/>
                  <a:gd name="T96" fmla="*/ 274 w 656"/>
                  <a:gd name="T97" fmla="*/ 84 h 820"/>
                  <a:gd name="T98" fmla="*/ 186 w 656"/>
                  <a:gd name="T99" fmla="*/ 170 h 820"/>
                  <a:gd name="T100" fmla="*/ 30 w 656"/>
                  <a:gd name="T101" fmla="*/ 136 h 820"/>
                  <a:gd name="T102" fmla="*/ 124 w 656"/>
                  <a:gd name="T103" fmla="*/ 2 h 820"/>
                  <a:gd name="T104" fmla="*/ 130 w 656"/>
                  <a:gd name="T105" fmla="*/ 100 h 820"/>
                  <a:gd name="T106" fmla="*/ 240 w 656"/>
                  <a:gd name="T107" fmla="*/ 58 h 820"/>
                  <a:gd name="T108" fmla="*/ 516 w 656"/>
                  <a:gd name="T109" fmla="*/ 144 h 820"/>
                  <a:gd name="T110" fmla="*/ 656 w 656"/>
                  <a:gd name="T111" fmla="*/ 438 h 820"/>
                  <a:gd name="T112" fmla="*/ 544 w 656"/>
                  <a:gd name="T113" fmla="*/ 708 h 820"/>
                  <a:gd name="T114" fmla="*/ 274 w 656"/>
                  <a:gd name="T115" fmla="*/ 820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56" h="820">
                    <a:moveTo>
                      <a:pt x="274" y="820"/>
                    </a:moveTo>
                    <a:lnTo>
                      <a:pt x="274" y="820"/>
                    </a:lnTo>
                    <a:lnTo>
                      <a:pt x="250" y="818"/>
                    </a:lnTo>
                    <a:lnTo>
                      <a:pt x="228" y="816"/>
                    </a:lnTo>
                    <a:lnTo>
                      <a:pt x="204" y="812"/>
                    </a:lnTo>
                    <a:lnTo>
                      <a:pt x="182" y="808"/>
                    </a:lnTo>
                    <a:lnTo>
                      <a:pt x="158" y="802"/>
                    </a:lnTo>
                    <a:lnTo>
                      <a:pt x="136" y="794"/>
                    </a:lnTo>
                    <a:lnTo>
                      <a:pt x="114" y="784"/>
                    </a:lnTo>
                    <a:lnTo>
                      <a:pt x="94" y="774"/>
                    </a:lnTo>
                    <a:lnTo>
                      <a:pt x="94" y="774"/>
                    </a:lnTo>
                    <a:lnTo>
                      <a:pt x="88" y="770"/>
                    </a:lnTo>
                    <a:lnTo>
                      <a:pt x="88" y="770"/>
                    </a:lnTo>
                    <a:lnTo>
                      <a:pt x="86" y="768"/>
                    </a:lnTo>
                    <a:lnTo>
                      <a:pt x="86" y="768"/>
                    </a:lnTo>
                    <a:lnTo>
                      <a:pt x="82" y="766"/>
                    </a:lnTo>
                    <a:lnTo>
                      <a:pt x="80" y="760"/>
                    </a:lnTo>
                    <a:lnTo>
                      <a:pt x="80" y="760"/>
                    </a:lnTo>
                    <a:lnTo>
                      <a:pt x="80" y="754"/>
                    </a:lnTo>
                    <a:lnTo>
                      <a:pt x="82" y="750"/>
                    </a:lnTo>
                    <a:lnTo>
                      <a:pt x="94" y="730"/>
                    </a:lnTo>
                    <a:lnTo>
                      <a:pt x="158" y="616"/>
                    </a:lnTo>
                    <a:lnTo>
                      <a:pt x="158" y="616"/>
                    </a:lnTo>
                    <a:lnTo>
                      <a:pt x="162" y="612"/>
                    </a:lnTo>
                    <a:lnTo>
                      <a:pt x="166" y="608"/>
                    </a:lnTo>
                    <a:lnTo>
                      <a:pt x="166" y="608"/>
                    </a:lnTo>
                    <a:lnTo>
                      <a:pt x="172" y="608"/>
                    </a:lnTo>
                    <a:lnTo>
                      <a:pt x="176" y="610"/>
                    </a:lnTo>
                    <a:lnTo>
                      <a:pt x="176" y="610"/>
                    </a:lnTo>
                    <a:lnTo>
                      <a:pt x="198" y="620"/>
                    </a:lnTo>
                    <a:lnTo>
                      <a:pt x="222" y="628"/>
                    </a:lnTo>
                    <a:lnTo>
                      <a:pt x="222" y="628"/>
                    </a:lnTo>
                    <a:lnTo>
                      <a:pt x="228" y="632"/>
                    </a:lnTo>
                    <a:lnTo>
                      <a:pt x="232" y="638"/>
                    </a:lnTo>
                    <a:lnTo>
                      <a:pt x="238" y="672"/>
                    </a:lnTo>
                    <a:lnTo>
                      <a:pt x="238" y="672"/>
                    </a:lnTo>
                    <a:lnTo>
                      <a:pt x="238" y="674"/>
                    </a:lnTo>
                    <a:lnTo>
                      <a:pt x="238" y="674"/>
                    </a:lnTo>
                    <a:lnTo>
                      <a:pt x="240" y="678"/>
                    </a:lnTo>
                    <a:lnTo>
                      <a:pt x="244" y="680"/>
                    </a:lnTo>
                    <a:lnTo>
                      <a:pt x="248" y="684"/>
                    </a:lnTo>
                    <a:lnTo>
                      <a:pt x="252" y="684"/>
                    </a:lnTo>
                    <a:lnTo>
                      <a:pt x="296" y="684"/>
                    </a:lnTo>
                    <a:lnTo>
                      <a:pt x="296" y="684"/>
                    </a:lnTo>
                    <a:lnTo>
                      <a:pt x="300" y="684"/>
                    </a:lnTo>
                    <a:lnTo>
                      <a:pt x="306" y="680"/>
                    </a:lnTo>
                    <a:lnTo>
                      <a:pt x="308" y="678"/>
                    </a:lnTo>
                    <a:lnTo>
                      <a:pt x="310" y="674"/>
                    </a:lnTo>
                    <a:lnTo>
                      <a:pt x="310" y="674"/>
                    </a:lnTo>
                    <a:lnTo>
                      <a:pt x="310" y="672"/>
                    </a:lnTo>
                    <a:lnTo>
                      <a:pt x="318" y="638"/>
                    </a:lnTo>
                    <a:lnTo>
                      <a:pt x="318" y="638"/>
                    </a:lnTo>
                    <a:lnTo>
                      <a:pt x="320" y="632"/>
                    </a:lnTo>
                    <a:lnTo>
                      <a:pt x="328" y="628"/>
                    </a:lnTo>
                    <a:lnTo>
                      <a:pt x="328" y="628"/>
                    </a:lnTo>
                    <a:lnTo>
                      <a:pt x="350" y="620"/>
                    </a:lnTo>
                    <a:lnTo>
                      <a:pt x="372" y="610"/>
                    </a:lnTo>
                    <a:lnTo>
                      <a:pt x="372" y="610"/>
                    </a:lnTo>
                    <a:lnTo>
                      <a:pt x="380" y="608"/>
                    </a:lnTo>
                    <a:lnTo>
                      <a:pt x="386" y="610"/>
                    </a:lnTo>
                    <a:lnTo>
                      <a:pt x="414" y="628"/>
                    </a:lnTo>
                    <a:lnTo>
                      <a:pt x="414" y="628"/>
                    </a:lnTo>
                    <a:lnTo>
                      <a:pt x="416" y="630"/>
                    </a:lnTo>
                    <a:lnTo>
                      <a:pt x="416" y="630"/>
                    </a:lnTo>
                    <a:lnTo>
                      <a:pt x="420" y="632"/>
                    </a:lnTo>
                    <a:lnTo>
                      <a:pt x="424" y="632"/>
                    </a:lnTo>
                    <a:lnTo>
                      <a:pt x="424" y="632"/>
                    </a:lnTo>
                    <a:lnTo>
                      <a:pt x="428" y="630"/>
                    </a:lnTo>
                    <a:lnTo>
                      <a:pt x="434" y="628"/>
                    </a:lnTo>
                    <a:lnTo>
                      <a:pt x="464" y="596"/>
                    </a:lnTo>
                    <a:lnTo>
                      <a:pt x="464" y="596"/>
                    </a:lnTo>
                    <a:lnTo>
                      <a:pt x="466" y="592"/>
                    </a:lnTo>
                    <a:lnTo>
                      <a:pt x="468" y="588"/>
                    </a:lnTo>
                    <a:lnTo>
                      <a:pt x="468" y="584"/>
                    </a:lnTo>
                    <a:lnTo>
                      <a:pt x="466" y="580"/>
                    </a:lnTo>
                    <a:lnTo>
                      <a:pt x="466" y="580"/>
                    </a:lnTo>
                    <a:lnTo>
                      <a:pt x="466" y="578"/>
                    </a:lnTo>
                    <a:lnTo>
                      <a:pt x="446" y="550"/>
                    </a:lnTo>
                    <a:lnTo>
                      <a:pt x="446" y="550"/>
                    </a:lnTo>
                    <a:lnTo>
                      <a:pt x="444" y="542"/>
                    </a:lnTo>
                    <a:lnTo>
                      <a:pt x="446" y="536"/>
                    </a:lnTo>
                    <a:lnTo>
                      <a:pt x="446" y="536"/>
                    </a:lnTo>
                    <a:lnTo>
                      <a:pt x="456" y="514"/>
                    </a:lnTo>
                    <a:lnTo>
                      <a:pt x="464" y="490"/>
                    </a:lnTo>
                    <a:lnTo>
                      <a:pt x="464" y="490"/>
                    </a:lnTo>
                    <a:lnTo>
                      <a:pt x="468" y="484"/>
                    </a:lnTo>
                    <a:lnTo>
                      <a:pt x="476" y="480"/>
                    </a:lnTo>
                    <a:lnTo>
                      <a:pt x="508" y="474"/>
                    </a:lnTo>
                    <a:lnTo>
                      <a:pt x="508" y="474"/>
                    </a:lnTo>
                    <a:lnTo>
                      <a:pt x="512" y="474"/>
                    </a:lnTo>
                    <a:lnTo>
                      <a:pt x="512" y="474"/>
                    </a:lnTo>
                    <a:lnTo>
                      <a:pt x="514" y="472"/>
                    </a:lnTo>
                    <a:lnTo>
                      <a:pt x="518" y="468"/>
                    </a:lnTo>
                    <a:lnTo>
                      <a:pt x="520" y="464"/>
                    </a:lnTo>
                    <a:lnTo>
                      <a:pt x="520" y="460"/>
                    </a:lnTo>
                    <a:lnTo>
                      <a:pt x="520" y="416"/>
                    </a:lnTo>
                    <a:lnTo>
                      <a:pt x="520" y="416"/>
                    </a:lnTo>
                    <a:lnTo>
                      <a:pt x="520" y="412"/>
                    </a:lnTo>
                    <a:lnTo>
                      <a:pt x="518" y="406"/>
                    </a:lnTo>
                    <a:lnTo>
                      <a:pt x="514" y="404"/>
                    </a:lnTo>
                    <a:lnTo>
                      <a:pt x="512" y="402"/>
                    </a:lnTo>
                    <a:lnTo>
                      <a:pt x="512" y="402"/>
                    </a:lnTo>
                    <a:lnTo>
                      <a:pt x="508" y="402"/>
                    </a:lnTo>
                    <a:lnTo>
                      <a:pt x="476" y="396"/>
                    </a:lnTo>
                    <a:lnTo>
                      <a:pt x="476" y="396"/>
                    </a:lnTo>
                    <a:lnTo>
                      <a:pt x="468" y="392"/>
                    </a:lnTo>
                    <a:lnTo>
                      <a:pt x="464" y="386"/>
                    </a:lnTo>
                    <a:lnTo>
                      <a:pt x="464" y="386"/>
                    </a:lnTo>
                    <a:lnTo>
                      <a:pt x="456" y="362"/>
                    </a:lnTo>
                    <a:lnTo>
                      <a:pt x="446" y="340"/>
                    </a:lnTo>
                    <a:lnTo>
                      <a:pt x="446" y="340"/>
                    </a:lnTo>
                    <a:lnTo>
                      <a:pt x="444" y="334"/>
                    </a:lnTo>
                    <a:lnTo>
                      <a:pt x="446" y="326"/>
                    </a:lnTo>
                    <a:lnTo>
                      <a:pt x="466" y="298"/>
                    </a:lnTo>
                    <a:lnTo>
                      <a:pt x="466" y="298"/>
                    </a:lnTo>
                    <a:lnTo>
                      <a:pt x="466" y="296"/>
                    </a:lnTo>
                    <a:lnTo>
                      <a:pt x="466" y="296"/>
                    </a:lnTo>
                    <a:lnTo>
                      <a:pt x="468" y="292"/>
                    </a:lnTo>
                    <a:lnTo>
                      <a:pt x="468" y="288"/>
                    </a:lnTo>
                    <a:lnTo>
                      <a:pt x="466" y="284"/>
                    </a:lnTo>
                    <a:lnTo>
                      <a:pt x="464" y="280"/>
                    </a:lnTo>
                    <a:lnTo>
                      <a:pt x="434" y="248"/>
                    </a:lnTo>
                    <a:lnTo>
                      <a:pt x="434" y="248"/>
                    </a:lnTo>
                    <a:lnTo>
                      <a:pt x="428" y="246"/>
                    </a:lnTo>
                    <a:lnTo>
                      <a:pt x="424" y="244"/>
                    </a:lnTo>
                    <a:lnTo>
                      <a:pt x="424" y="244"/>
                    </a:lnTo>
                    <a:lnTo>
                      <a:pt x="420" y="244"/>
                    </a:lnTo>
                    <a:lnTo>
                      <a:pt x="416" y="246"/>
                    </a:lnTo>
                    <a:lnTo>
                      <a:pt x="416" y="246"/>
                    </a:lnTo>
                    <a:lnTo>
                      <a:pt x="414" y="248"/>
                    </a:lnTo>
                    <a:lnTo>
                      <a:pt x="386" y="266"/>
                    </a:lnTo>
                    <a:lnTo>
                      <a:pt x="386" y="266"/>
                    </a:lnTo>
                    <a:lnTo>
                      <a:pt x="380" y="268"/>
                    </a:lnTo>
                    <a:lnTo>
                      <a:pt x="372" y="266"/>
                    </a:lnTo>
                    <a:lnTo>
                      <a:pt x="372" y="266"/>
                    </a:lnTo>
                    <a:lnTo>
                      <a:pt x="350" y="256"/>
                    </a:lnTo>
                    <a:lnTo>
                      <a:pt x="328" y="248"/>
                    </a:lnTo>
                    <a:lnTo>
                      <a:pt x="328" y="248"/>
                    </a:lnTo>
                    <a:lnTo>
                      <a:pt x="320" y="244"/>
                    </a:lnTo>
                    <a:lnTo>
                      <a:pt x="318" y="236"/>
                    </a:lnTo>
                    <a:lnTo>
                      <a:pt x="310" y="204"/>
                    </a:lnTo>
                    <a:lnTo>
                      <a:pt x="310" y="204"/>
                    </a:lnTo>
                    <a:lnTo>
                      <a:pt x="310" y="200"/>
                    </a:lnTo>
                    <a:lnTo>
                      <a:pt x="310" y="200"/>
                    </a:lnTo>
                    <a:lnTo>
                      <a:pt x="308" y="198"/>
                    </a:lnTo>
                    <a:lnTo>
                      <a:pt x="306" y="196"/>
                    </a:lnTo>
                    <a:lnTo>
                      <a:pt x="300" y="192"/>
                    </a:lnTo>
                    <a:lnTo>
                      <a:pt x="296" y="192"/>
                    </a:lnTo>
                    <a:lnTo>
                      <a:pt x="254" y="192"/>
                    </a:lnTo>
                    <a:lnTo>
                      <a:pt x="254" y="192"/>
                    </a:lnTo>
                    <a:lnTo>
                      <a:pt x="248" y="192"/>
                    </a:lnTo>
                    <a:lnTo>
                      <a:pt x="244" y="196"/>
                    </a:lnTo>
                    <a:lnTo>
                      <a:pt x="240" y="198"/>
                    </a:lnTo>
                    <a:lnTo>
                      <a:pt x="238" y="200"/>
                    </a:lnTo>
                    <a:lnTo>
                      <a:pt x="238" y="200"/>
                    </a:lnTo>
                    <a:lnTo>
                      <a:pt x="238" y="204"/>
                    </a:lnTo>
                    <a:lnTo>
                      <a:pt x="232" y="236"/>
                    </a:lnTo>
                    <a:lnTo>
                      <a:pt x="232" y="236"/>
                    </a:lnTo>
                    <a:lnTo>
                      <a:pt x="228" y="244"/>
                    </a:lnTo>
                    <a:lnTo>
                      <a:pt x="222" y="248"/>
                    </a:lnTo>
                    <a:lnTo>
                      <a:pt x="222" y="248"/>
                    </a:lnTo>
                    <a:lnTo>
                      <a:pt x="198" y="256"/>
                    </a:lnTo>
                    <a:lnTo>
                      <a:pt x="176" y="266"/>
                    </a:lnTo>
                    <a:lnTo>
                      <a:pt x="176" y="266"/>
                    </a:lnTo>
                    <a:lnTo>
                      <a:pt x="170" y="268"/>
                    </a:lnTo>
                    <a:lnTo>
                      <a:pt x="162" y="266"/>
                    </a:lnTo>
                    <a:lnTo>
                      <a:pt x="134" y="248"/>
                    </a:lnTo>
                    <a:lnTo>
                      <a:pt x="134" y="248"/>
                    </a:lnTo>
                    <a:lnTo>
                      <a:pt x="132" y="246"/>
                    </a:lnTo>
                    <a:lnTo>
                      <a:pt x="132" y="246"/>
                    </a:lnTo>
                    <a:lnTo>
                      <a:pt x="128" y="244"/>
                    </a:lnTo>
                    <a:lnTo>
                      <a:pt x="124" y="244"/>
                    </a:lnTo>
                    <a:lnTo>
                      <a:pt x="120" y="246"/>
                    </a:lnTo>
                    <a:lnTo>
                      <a:pt x="116" y="248"/>
                    </a:lnTo>
                    <a:lnTo>
                      <a:pt x="86" y="278"/>
                    </a:lnTo>
                    <a:lnTo>
                      <a:pt x="86" y="278"/>
                    </a:lnTo>
                    <a:lnTo>
                      <a:pt x="82" y="284"/>
                    </a:lnTo>
                    <a:lnTo>
                      <a:pt x="80" y="288"/>
                    </a:lnTo>
                    <a:lnTo>
                      <a:pt x="80" y="292"/>
                    </a:lnTo>
                    <a:lnTo>
                      <a:pt x="82" y="296"/>
                    </a:lnTo>
                    <a:lnTo>
                      <a:pt x="82" y="296"/>
                    </a:lnTo>
                    <a:lnTo>
                      <a:pt x="84" y="298"/>
                    </a:lnTo>
                    <a:lnTo>
                      <a:pt x="102" y="326"/>
                    </a:lnTo>
                    <a:lnTo>
                      <a:pt x="102" y="326"/>
                    </a:lnTo>
                    <a:lnTo>
                      <a:pt x="104" y="334"/>
                    </a:lnTo>
                    <a:lnTo>
                      <a:pt x="102" y="340"/>
                    </a:lnTo>
                    <a:lnTo>
                      <a:pt x="102" y="340"/>
                    </a:lnTo>
                    <a:lnTo>
                      <a:pt x="92" y="362"/>
                    </a:lnTo>
                    <a:lnTo>
                      <a:pt x="84" y="386"/>
                    </a:lnTo>
                    <a:lnTo>
                      <a:pt x="84" y="386"/>
                    </a:lnTo>
                    <a:lnTo>
                      <a:pt x="80" y="392"/>
                    </a:lnTo>
                    <a:lnTo>
                      <a:pt x="74" y="396"/>
                    </a:lnTo>
                    <a:lnTo>
                      <a:pt x="40" y="402"/>
                    </a:lnTo>
                    <a:lnTo>
                      <a:pt x="40" y="402"/>
                    </a:lnTo>
                    <a:lnTo>
                      <a:pt x="38" y="402"/>
                    </a:lnTo>
                    <a:lnTo>
                      <a:pt x="38" y="402"/>
                    </a:lnTo>
                    <a:lnTo>
                      <a:pt x="34" y="404"/>
                    </a:lnTo>
                    <a:lnTo>
                      <a:pt x="32" y="406"/>
                    </a:lnTo>
                    <a:lnTo>
                      <a:pt x="30" y="412"/>
                    </a:lnTo>
                    <a:lnTo>
                      <a:pt x="28" y="416"/>
                    </a:lnTo>
                    <a:lnTo>
                      <a:pt x="28" y="460"/>
                    </a:lnTo>
                    <a:lnTo>
                      <a:pt x="28" y="460"/>
                    </a:lnTo>
                    <a:lnTo>
                      <a:pt x="30" y="464"/>
                    </a:lnTo>
                    <a:lnTo>
                      <a:pt x="32" y="468"/>
                    </a:lnTo>
                    <a:lnTo>
                      <a:pt x="34" y="472"/>
                    </a:lnTo>
                    <a:lnTo>
                      <a:pt x="38" y="474"/>
                    </a:lnTo>
                    <a:lnTo>
                      <a:pt x="38" y="474"/>
                    </a:lnTo>
                    <a:lnTo>
                      <a:pt x="40" y="474"/>
                    </a:lnTo>
                    <a:lnTo>
                      <a:pt x="74" y="480"/>
                    </a:lnTo>
                    <a:lnTo>
                      <a:pt x="74" y="480"/>
                    </a:lnTo>
                    <a:lnTo>
                      <a:pt x="80" y="484"/>
                    </a:lnTo>
                    <a:lnTo>
                      <a:pt x="84" y="490"/>
                    </a:lnTo>
                    <a:lnTo>
                      <a:pt x="84" y="490"/>
                    </a:lnTo>
                    <a:lnTo>
                      <a:pt x="92" y="514"/>
                    </a:lnTo>
                    <a:lnTo>
                      <a:pt x="102" y="536"/>
                    </a:lnTo>
                    <a:lnTo>
                      <a:pt x="102" y="536"/>
                    </a:lnTo>
                    <a:lnTo>
                      <a:pt x="104" y="540"/>
                    </a:lnTo>
                    <a:lnTo>
                      <a:pt x="104" y="546"/>
                    </a:lnTo>
                    <a:lnTo>
                      <a:pt x="102" y="550"/>
                    </a:lnTo>
                    <a:lnTo>
                      <a:pt x="98" y="554"/>
                    </a:lnTo>
                    <a:lnTo>
                      <a:pt x="98" y="554"/>
                    </a:lnTo>
                    <a:lnTo>
                      <a:pt x="92" y="556"/>
                    </a:lnTo>
                    <a:lnTo>
                      <a:pt x="86" y="556"/>
                    </a:lnTo>
                    <a:lnTo>
                      <a:pt x="82" y="554"/>
                    </a:lnTo>
                    <a:lnTo>
                      <a:pt x="78" y="550"/>
                    </a:lnTo>
                    <a:lnTo>
                      <a:pt x="78" y="550"/>
                    </a:lnTo>
                    <a:lnTo>
                      <a:pt x="68" y="528"/>
                    </a:lnTo>
                    <a:lnTo>
                      <a:pt x="60" y="506"/>
                    </a:lnTo>
                    <a:lnTo>
                      <a:pt x="36" y="502"/>
                    </a:lnTo>
                    <a:lnTo>
                      <a:pt x="36" y="502"/>
                    </a:lnTo>
                    <a:lnTo>
                      <a:pt x="28" y="500"/>
                    </a:lnTo>
                    <a:lnTo>
                      <a:pt x="22" y="496"/>
                    </a:lnTo>
                    <a:lnTo>
                      <a:pt x="16" y="492"/>
                    </a:lnTo>
                    <a:lnTo>
                      <a:pt x="10" y="488"/>
                    </a:lnTo>
                    <a:lnTo>
                      <a:pt x="6" y="480"/>
                    </a:lnTo>
                    <a:lnTo>
                      <a:pt x="2" y="474"/>
                    </a:lnTo>
                    <a:lnTo>
                      <a:pt x="0" y="466"/>
                    </a:lnTo>
                    <a:lnTo>
                      <a:pt x="0" y="460"/>
                    </a:lnTo>
                    <a:lnTo>
                      <a:pt x="0" y="416"/>
                    </a:lnTo>
                    <a:lnTo>
                      <a:pt x="0" y="416"/>
                    </a:lnTo>
                    <a:lnTo>
                      <a:pt x="0" y="410"/>
                    </a:lnTo>
                    <a:lnTo>
                      <a:pt x="2" y="402"/>
                    </a:lnTo>
                    <a:lnTo>
                      <a:pt x="6" y="394"/>
                    </a:lnTo>
                    <a:lnTo>
                      <a:pt x="10" y="388"/>
                    </a:lnTo>
                    <a:lnTo>
                      <a:pt x="16" y="384"/>
                    </a:lnTo>
                    <a:lnTo>
                      <a:pt x="22" y="378"/>
                    </a:lnTo>
                    <a:lnTo>
                      <a:pt x="28" y="376"/>
                    </a:lnTo>
                    <a:lnTo>
                      <a:pt x="36" y="374"/>
                    </a:lnTo>
                    <a:lnTo>
                      <a:pt x="60" y="370"/>
                    </a:lnTo>
                    <a:lnTo>
                      <a:pt x="60" y="370"/>
                    </a:lnTo>
                    <a:lnTo>
                      <a:pt x="66" y="352"/>
                    </a:lnTo>
                    <a:lnTo>
                      <a:pt x="74" y="334"/>
                    </a:lnTo>
                    <a:lnTo>
                      <a:pt x="60" y="314"/>
                    </a:lnTo>
                    <a:lnTo>
                      <a:pt x="60" y="314"/>
                    </a:lnTo>
                    <a:lnTo>
                      <a:pt x="56" y="308"/>
                    </a:lnTo>
                    <a:lnTo>
                      <a:pt x="54" y="300"/>
                    </a:lnTo>
                    <a:lnTo>
                      <a:pt x="52" y="294"/>
                    </a:lnTo>
                    <a:lnTo>
                      <a:pt x="52" y="286"/>
                    </a:lnTo>
                    <a:lnTo>
                      <a:pt x="54" y="278"/>
                    </a:lnTo>
                    <a:lnTo>
                      <a:pt x="56" y="272"/>
                    </a:lnTo>
                    <a:lnTo>
                      <a:pt x="60" y="264"/>
                    </a:lnTo>
                    <a:lnTo>
                      <a:pt x="66" y="260"/>
                    </a:lnTo>
                    <a:lnTo>
                      <a:pt x="96" y="228"/>
                    </a:lnTo>
                    <a:lnTo>
                      <a:pt x="96" y="228"/>
                    </a:lnTo>
                    <a:lnTo>
                      <a:pt x="102" y="224"/>
                    </a:lnTo>
                    <a:lnTo>
                      <a:pt x="108" y="220"/>
                    </a:lnTo>
                    <a:lnTo>
                      <a:pt x="114" y="218"/>
                    </a:lnTo>
                    <a:lnTo>
                      <a:pt x="122" y="216"/>
                    </a:lnTo>
                    <a:lnTo>
                      <a:pt x="130" y="216"/>
                    </a:lnTo>
                    <a:lnTo>
                      <a:pt x="138" y="218"/>
                    </a:lnTo>
                    <a:lnTo>
                      <a:pt x="144" y="220"/>
                    </a:lnTo>
                    <a:lnTo>
                      <a:pt x="150" y="224"/>
                    </a:lnTo>
                    <a:lnTo>
                      <a:pt x="170" y="238"/>
                    </a:lnTo>
                    <a:lnTo>
                      <a:pt x="170" y="238"/>
                    </a:lnTo>
                    <a:lnTo>
                      <a:pt x="188" y="230"/>
                    </a:lnTo>
                    <a:lnTo>
                      <a:pt x="206" y="222"/>
                    </a:lnTo>
                    <a:lnTo>
                      <a:pt x="210" y="200"/>
                    </a:lnTo>
                    <a:lnTo>
                      <a:pt x="210" y="200"/>
                    </a:lnTo>
                    <a:lnTo>
                      <a:pt x="212" y="192"/>
                    </a:lnTo>
                    <a:lnTo>
                      <a:pt x="216" y="186"/>
                    </a:lnTo>
                    <a:lnTo>
                      <a:pt x="220" y="180"/>
                    </a:lnTo>
                    <a:lnTo>
                      <a:pt x="226" y="174"/>
                    </a:lnTo>
                    <a:lnTo>
                      <a:pt x="232" y="170"/>
                    </a:lnTo>
                    <a:lnTo>
                      <a:pt x="238" y="166"/>
                    </a:lnTo>
                    <a:lnTo>
                      <a:pt x="246" y="164"/>
                    </a:lnTo>
                    <a:lnTo>
                      <a:pt x="254" y="164"/>
                    </a:lnTo>
                    <a:lnTo>
                      <a:pt x="296" y="164"/>
                    </a:lnTo>
                    <a:lnTo>
                      <a:pt x="296" y="164"/>
                    </a:lnTo>
                    <a:lnTo>
                      <a:pt x="304" y="164"/>
                    </a:lnTo>
                    <a:lnTo>
                      <a:pt x="310" y="166"/>
                    </a:lnTo>
                    <a:lnTo>
                      <a:pt x="318" y="170"/>
                    </a:lnTo>
                    <a:lnTo>
                      <a:pt x="324" y="174"/>
                    </a:lnTo>
                    <a:lnTo>
                      <a:pt x="330" y="180"/>
                    </a:lnTo>
                    <a:lnTo>
                      <a:pt x="334" y="186"/>
                    </a:lnTo>
                    <a:lnTo>
                      <a:pt x="336" y="192"/>
                    </a:lnTo>
                    <a:lnTo>
                      <a:pt x="338" y="200"/>
                    </a:lnTo>
                    <a:lnTo>
                      <a:pt x="342" y="222"/>
                    </a:lnTo>
                    <a:lnTo>
                      <a:pt x="342" y="222"/>
                    </a:lnTo>
                    <a:lnTo>
                      <a:pt x="360" y="230"/>
                    </a:lnTo>
                    <a:lnTo>
                      <a:pt x="378" y="238"/>
                    </a:lnTo>
                    <a:lnTo>
                      <a:pt x="398" y="224"/>
                    </a:lnTo>
                    <a:lnTo>
                      <a:pt x="398" y="224"/>
                    </a:lnTo>
                    <a:lnTo>
                      <a:pt x="404" y="220"/>
                    </a:lnTo>
                    <a:lnTo>
                      <a:pt x="412" y="218"/>
                    </a:lnTo>
                    <a:lnTo>
                      <a:pt x="418" y="216"/>
                    </a:lnTo>
                    <a:lnTo>
                      <a:pt x="426" y="216"/>
                    </a:lnTo>
                    <a:lnTo>
                      <a:pt x="426" y="216"/>
                    </a:lnTo>
                    <a:lnTo>
                      <a:pt x="442" y="220"/>
                    </a:lnTo>
                    <a:lnTo>
                      <a:pt x="448" y="224"/>
                    </a:lnTo>
                    <a:lnTo>
                      <a:pt x="454" y="230"/>
                    </a:lnTo>
                    <a:lnTo>
                      <a:pt x="484" y="260"/>
                    </a:lnTo>
                    <a:lnTo>
                      <a:pt x="484" y="260"/>
                    </a:lnTo>
                    <a:lnTo>
                      <a:pt x="488" y="264"/>
                    </a:lnTo>
                    <a:lnTo>
                      <a:pt x="492" y="272"/>
                    </a:lnTo>
                    <a:lnTo>
                      <a:pt x="494" y="278"/>
                    </a:lnTo>
                    <a:lnTo>
                      <a:pt x="496" y="286"/>
                    </a:lnTo>
                    <a:lnTo>
                      <a:pt x="496" y="294"/>
                    </a:lnTo>
                    <a:lnTo>
                      <a:pt x="494" y="300"/>
                    </a:lnTo>
                    <a:lnTo>
                      <a:pt x="492" y="308"/>
                    </a:lnTo>
                    <a:lnTo>
                      <a:pt x="488" y="314"/>
                    </a:lnTo>
                    <a:lnTo>
                      <a:pt x="474" y="334"/>
                    </a:lnTo>
                    <a:lnTo>
                      <a:pt x="474" y="334"/>
                    </a:lnTo>
                    <a:lnTo>
                      <a:pt x="482" y="352"/>
                    </a:lnTo>
                    <a:lnTo>
                      <a:pt x="490" y="370"/>
                    </a:lnTo>
                    <a:lnTo>
                      <a:pt x="512" y="374"/>
                    </a:lnTo>
                    <a:lnTo>
                      <a:pt x="512" y="374"/>
                    </a:lnTo>
                    <a:lnTo>
                      <a:pt x="520" y="376"/>
                    </a:lnTo>
                    <a:lnTo>
                      <a:pt x="528" y="378"/>
                    </a:lnTo>
                    <a:lnTo>
                      <a:pt x="534" y="384"/>
                    </a:lnTo>
                    <a:lnTo>
                      <a:pt x="538" y="388"/>
                    </a:lnTo>
                    <a:lnTo>
                      <a:pt x="542" y="396"/>
                    </a:lnTo>
                    <a:lnTo>
                      <a:pt x="546" y="402"/>
                    </a:lnTo>
                    <a:lnTo>
                      <a:pt x="548" y="410"/>
                    </a:lnTo>
                    <a:lnTo>
                      <a:pt x="548" y="416"/>
                    </a:lnTo>
                    <a:lnTo>
                      <a:pt x="548" y="460"/>
                    </a:lnTo>
                    <a:lnTo>
                      <a:pt x="548" y="460"/>
                    </a:lnTo>
                    <a:lnTo>
                      <a:pt x="548" y="466"/>
                    </a:lnTo>
                    <a:lnTo>
                      <a:pt x="546" y="474"/>
                    </a:lnTo>
                    <a:lnTo>
                      <a:pt x="542" y="480"/>
                    </a:lnTo>
                    <a:lnTo>
                      <a:pt x="538" y="488"/>
                    </a:lnTo>
                    <a:lnTo>
                      <a:pt x="534" y="492"/>
                    </a:lnTo>
                    <a:lnTo>
                      <a:pt x="528" y="498"/>
                    </a:lnTo>
                    <a:lnTo>
                      <a:pt x="520" y="500"/>
                    </a:lnTo>
                    <a:lnTo>
                      <a:pt x="512" y="502"/>
                    </a:lnTo>
                    <a:lnTo>
                      <a:pt x="490" y="506"/>
                    </a:lnTo>
                    <a:lnTo>
                      <a:pt x="490" y="506"/>
                    </a:lnTo>
                    <a:lnTo>
                      <a:pt x="482" y="524"/>
                    </a:lnTo>
                    <a:lnTo>
                      <a:pt x="474" y="542"/>
                    </a:lnTo>
                    <a:lnTo>
                      <a:pt x="488" y="562"/>
                    </a:lnTo>
                    <a:lnTo>
                      <a:pt x="488" y="562"/>
                    </a:lnTo>
                    <a:lnTo>
                      <a:pt x="492" y="568"/>
                    </a:lnTo>
                    <a:lnTo>
                      <a:pt x="494" y="574"/>
                    </a:lnTo>
                    <a:lnTo>
                      <a:pt x="496" y="582"/>
                    </a:lnTo>
                    <a:lnTo>
                      <a:pt x="496" y="590"/>
                    </a:lnTo>
                    <a:lnTo>
                      <a:pt x="494" y="598"/>
                    </a:lnTo>
                    <a:lnTo>
                      <a:pt x="492" y="604"/>
                    </a:lnTo>
                    <a:lnTo>
                      <a:pt x="488" y="610"/>
                    </a:lnTo>
                    <a:lnTo>
                      <a:pt x="484" y="616"/>
                    </a:lnTo>
                    <a:lnTo>
                      <a:pt x="452" y="646"/>
                    </a:lnTo>
                    <a:lnTo>
                      <a:pt x="452" y="646"/>
                    </a:lnTo>
                    <a:lnTo>
                      <a:pt x="448" y="652"/>
                    </a:lnTo>
                    <a:lnTo>
                      <a:pt x="442" y="656"/>
                    </a:lnTo>
                    <a:lnTo>
                      <a:pt x="434" y="658"/>
                    </a:lnTo>
                    <a:lnTo>
                      <a:pt x="426" y="660"/>
                    </a:lnTo>
                    <a:lnTo>
                      <a:pt x="426" y="660"/>
                    </a:lnTo>
                    <a:lnTo>
                      <a:pt x="418" y="660"/>
                    </a:lnTo>
                    <a:lnTo>
                      <a:pt x="412" y="658"/>
                    </a:lnTo>
                    <a:lnTo>
                      <a:pt x="404" y="656"/>
                    </a:lnTo>
                    <a:lnTo>
                      <a:pt x="398" y="652"/>
                    </a:lnTo>
                    <a:lnTo>
                      <a:pt x="378" y="638"/>
                    </a:lnTo>
                    <a:lnTo>
                      <a:pt x="378" y="638"/>
                    </a:lnTo>
                    <a:lnTo>
                      <a:pt x="360" y="646"/>
                    </a:lnTo>
                    <a:lnTo>
                      <a:pt x="342" y="652"/>
                    </a:lnTo>
                    <a:lnTo>
                      <a:pt x="338" y="676"/>
                    </a:lnTo>
                    <a:lnTo>
                      <a:pt x="338" y="676"/>
                    </a:lnTo>
                    <a:lnTo>
                      <a:pt x="336" y="684"/>
                    </a:lnTo>
                    <a:lnTo>
                      <a:pt x="334" y="690"/>
                    </a:lnTo>
                    <a:lnTo>
                      <a:pt x="330" y="696"/>
                    </a:lnTo>
                    <a:lnTo>
                      <a:pt x="324" y="702"/>
                    </a:lnTo>
                    <a:lnTo>
                      <a:pt x="318" y="706"/>
                    </a:lnTo>
                    <a:lnTo>
                      <a:pt x="310" y="710"/>
                    </a:lnTo>
                    <a:lnTo>
                      <a:pt x="302" y="712"/>
                    </a:lnTo>
                    <a:lnTo>
                      <a:pt x="296" y="712"/>
                    </a:lnTo>
                    <a:lnTo>
                      <a:pt x="252" y="712"/>
                    </a:lnTo>
                    <a:lnTo>
                      <a:pt x="252" y="712"/>
                    </a:lnTo>
                    <a:lnTo>
                      <a:pt x="246" y="712"/>
                    </a:lnTo>
                    <a:lnTo>
                      <a:pt x="238" y="710"/>
                    </a:lnTo>
                    <a:lnTo>
                      <a:pt x="232" y="706"/>
                    </a:lnTo>
                    <a:lnTo>
                      <a:pt x="226" y="702"/>
                    </a:lnTo>
                    <a:lnTo>
                      <a:pt x="220" y="696"/>
                    </a:lnTo>
                    <a:lnTo>
                      <a:pt x="216" y="690"/>
                    </a:lnTo>
                    <a:lnTo>
                      <a:pt x="212" y="684"/>
                    </a:lnTo>
                    <a:lnTo>
                      <a:pt x="210" y="676"/>
                    </a:lnTo>
                    <a:lnTo>
                      <a:pt x="206" y="652"/>
                    </a:lnTo>
                    <a:lnTo>
                      <a:pt x="206" y="652"/>
                    </a:lnTo>
                    <a:lnTo>
                      <a:pt x="176" y="640"/>
                    </a:lnTo>
                    <a:lnTo>
                      <a:pt x="118" y="744"/>
                    </a:lnTo>
                    <a:lnTo>
                      <a:pt x="112" y="752"/>
                    </a:lnTo>
                    <a:lnTo>
                      <a:pt x="112" y="752"/>
                    </a:lnTo>
                    <a:lnTo>
                      <a:pt x="132" y="762"/>
                    </a:lnTo>
                    <a:lnTo>
                      <a:pt x="150" y="770"/>
                    </a:lnTo>
                    <a:lnTo>
                      <a:pt x="170" y="776"/>
                    </a:lnTo>
                    <a:lnTo>
                      <a:pt x="190" y="782"/>
                    </a:lnTo>
                    <a:lnTo>
                      <a:pt x="212" y="786"/>
                    </a:lnTo>
                    <a:lnTo>
                      <a:pt x="232" y="788"/>
                    </a:lnTo>
                    <a:lnTo>
                      <a:pt x="254" y="790"/>
                    </a:lnTo>
                    <a:lnTo>
                      <a:pt x="274" y="792"/>
                    </a:lnTo>
                    <a:lnTo>
                      <a:pt x="274" y="792"/>
                    </a:lnTo>
                    <a:lnTo>
                      <a:pt x="310" y="790"/>
                    </a:lnTo>
                    <a:lnTo>
                      <a:pt x="346" y="784"/>
                    </a:lnTo>
                    <a:lnTo>
                      <a:pt x="380" y="776"/>
                    </a:lnTo>
                    <a:lnTo>
                      <a:pt x="412" y="764"/>
                    </a:lnTo>
                    <a:lnTo>
                      <a:pt x="442" y="748"/>
                    </a:lnTo>
                    <a:lnTo>
                      <a:pt x="472" y="730"/>
                    </a:lnTo>
                    <a:lnTo>
                      <a:pt x="500" y="710"/>
                    </a:lnTo>
                    <a:lnTo>
                      <a:pt x="524" y="688"/>
                    </a:lnTo>
                    <a:lnTo>
                      <a:pt x="546" y="662"/>
                    </a:lnTo>
                    <a:lnTo>
                      <a:pt x="568" y="636"/>
                    </a:lnTo>
                    <a:lnTo>
                      <a:pt x="586" y="606"/>
                    </a:lnTo>
                    <a:lnTo>
                      <a:pt x="600" y="576"/>
                    </a:lnTo>
                    <a:lnTo>
                      <a:pt x="612" y="542"/>
                    </a:lnTo>
                    <a:lnTo>
                      <a:pt x="620" y="510"/>
                    </a:lnTo>
                    <a:lnTo>
                      <a:pt x="626" y="474"/>
                    </a:lnTo>
                    <a:lnTo>
                      <a:pt x="628" y="438"/>
                    </a:lnTo>
                    <a:lnTo>
                      <a:pt x="628" y="438"/>
                    </a:lnTo>
                    <a:lnTo>
                      <a:pt x="626" y="402"/>
                    </a:lnTo>
                    <a:lnTo>
                      <a:pt x="620" y="366"/>
                    </a:lnTo>
                    <a:lnTo>
                      <a:pt x="612" y="332"/>
                    </a:lnTo>
                    <a:lnTo>
                      <a:pt x="600" y="300"/>
                    </a:lnTo>
                    <a:lnTo>
                      <a:pt x="586" y="270"/>
                    </a:lnTo>
                    <a:lnTo>
                      <a:pt x="568" y="240"/>
                    </a:lnTo>
                    <a:lnTo>
                      <a:pt x="546" y="214"/>
                    </a:lnTo>
                    <a:lnTo>
                      <a:pt x="524" y="188"/>
                    </a:lnTo>
                    <a:lnTo>
                      <a:pt x="500" y="166"/>
                    </a:lnTo>
                    <a:lnTo>
                      <a:pt x="472" y="144"/>
                    </a:lnTo>
                    <a:lnTo>
                      <a:pt x="442" y="128"/>
                    </a:lnTo>
                    <a:lnTo>
                      <a:pt x="412" y="112"/>
                    </a:lnTo>
                    <a:lnTo>
                      <a:pt x="380" y="100"/>
                    </a:lnTo>
                    <a:lnTo>
                      <a:pt x="346" y="92"/>
                    </a:lnTo>
                    <a:lnTo>
                      <a:pt x="310" y="86"/>
                    </a:lnTo>
                    <a:lnTo>
                      <a:pt x="274" y="84"/>
                    </a:lnTo>
                    <a:lnTo>
                      <a:pt x="274" y="84"/>
                    </a:lnTo>
                    <a:lnTo>
                      <a:pt x="246" y="86"/>
                    </a:lnTo>
                    <a:lnTo>
                      <a:pt x="218" y="88"/>
                    </a:lnTo>
                    <a:lnTo>
                      <a:pt x="190" y="94"/>
                    </a:lnTo>
                    <a:lnTo>
                      <a:pt x="162" y="102"/>
                    </a:lnTo>
                    <a:lnTo>
                      <a:pt x="174" y="130"/>
                    </a:lnTo>
                    <a:lnTo>
                      <a:pt x="186" y="164"/>
                    </a:lnTo>
                    <a:lnTo>
                      <a:pt x="186" y="164"/>
                    </a:lnTo>
                    <a:lnTo>
                      <a:pt x="186" y="170"/>
                    </a:lnTo>
                    <a:lnTo>
                      <a:pt x="184" y="178"/>
                    </a:lnTo>
                    <a:lnTo>
                      <a:pt x="184" y="178"/>
                    </a:lnTo>
                    <a:lnTo>
                      <a:pt x="176" y="182"/>
                    </a:lnTo>
                    <a:lnTo>
                      <a:pt x="170" y="182"/>
                    </a:lnTo>
                    <a:lnTo>
                      <a:pt x="40" y="144"/>
                    </a:lnTo>
                    <a:lnTo>
                      <a:pt x="40" y="144"/>
                    </a:lnTo>
                    <a:lnTo>
                      <a:pt x="34" y="142"/>
                    </a:lnTo>
                    <a:lnTo>
                      <a:pt x="30" y="136"/>
                    </a:lnTo>
                    <a:lnTo>
                      <a:pt x="30" y="136"/>
                    </a:lnTo>
                    <a:lnTo>
                      <a:pt x="28" y="130"/>
                    </a:lnTo>
                    <a:lnTo>
                      <a:pt x="32" y="124"/>
                    </a:lnTo>
                    <a:lnTo>
                      <a:pt x="104" y="8"/>
                    </a:lnTo>
                    <a:lnTo>
                      <a:pt x="104" y="8"/>
                    </a:lnTo>
                    <a:lnTo>
                      <a:pt x="108" y="4"/>
                    </a:lnTo>
                    <a:lnTo>
                      <a:pt x="112" y="0"/>
                    </a:lnTo>
                    <a:lnTo>
                      <a:pt x="118" y="0"/>
                    </a:lnTo>
                    <a:lnTo>
                      <a:pt x="124" y="2"/>
                    </a:lnTo>
                    <a:lnTo>
                      <a:pt x="124" y="2"/>
                    </a:lnTo>
                    <a:lnTo>
                      <a:pt x="128" y="6"/>
                    </a:lnTo>
                    <a:lnTo>
                      <a:pt x="130" y="12"/>
                    </a:lnTo>
                    <a:lnTo>
                      <a:pt x="130" y="16"/>
                    </a:lnTo>
                    <a:lnTo>
                      <a:pt x="128" y="22"/>
                    </a:lnTo>
                    <a:lnTo>
                      <a:pt x="64" y="122"/>
                    </a:lnTo>
                    <a:lnTo>
                      <a:pt x="150" y="148"/>
                    </a:lnTo>
                    <a:lnTo>
                      <a:pt x="148" y="140"/>
                    </a:lnTo>
                    <a:lnTo>
                      <a:pt x="130" y="100"/>
                    </a:lnTo>
                    <a:lnTo>
                      <a:pt x="130" y="100"/>
                    </a:lnTo>
                    <a:lnTo>
                      <a:pt x="130" y="94"/>
                    </a:lnTo>
                    <a:lnTo>
                      <a:pt x="130" y="88"/>
                    </a:lnTo>
                    <a:lnTo>
                      <a:pt x="130" y="88"/>
                    </a:lnTo>
                    <a:lnTo>
                      <a:pt x="134" y="84"/>
                    </a:lnTo>
                    <a:lnTo>
                      <a:pt x="138" y="82"/>
                    </a:lnTo>
                    <a:lnTo>
                      <a:pt x="138" y="82"/>
                    </a:lnTo>
                    <a:lnTo>
                      <a:pt x="172" y="70"/>
                    </a:lnTo>
                    <a:lnTo>
                      <a:pt x="206" y="62"/>
                    </a:lnTo>
                    <a:lnTo>
                      <a:pt x="240" y="58"/>
                    </a:lnTo>
                    <a:lnTo>
                      <a:pt x="274" y="56"/>
                    </a:lnTo>
                    <a:lnTo>
                      <a:pt x="274" y="56"/>
                    </a:lnTo>
                    <a:lnTo>
                      <a:pt x="314" y="58"/>
                    </a:lnTo>
                    <a:lnTo>
                      <a:pt x="352" y="64"/>
                    </a:lnTo>
                    <a:lnTo>
                      <a:pt x="388" y="74"/>
                    </a:lnTo>
                    <a:lnTo>
                      <a:pt x="422" y="86"/>
                    </a:lnTo>
                    <a:lnTo>
                      <a:pt x="456" y="102"/>
                    </a:lnTo>
                    <a:lnTo>
                      <a:pt x="488" y="122"/>
                    </a:lnTo>
                    <a:lnTo>
                      <a:pt x="516" y="144"/>
                    </a:lnTo>
                    <a:lnTo>
                      <a:pt x="544" y="168"/>
                    </a:lnTo>
                    <a:lnTo>
                      <a:pt x="568" y="196"/>
                    </a:lnTo>
                    <a:lnTo>
                      <a:pt x="590" y="224"/>
                    </a:lnTo>
                    <a:lnTo>
                      <a:pt x="610" y="256"/>
                    </a:lnTo>
                    <a:lnTo>
                      <a:pt x="626" y="290"/>
                    </a:lnTo>
                    <a:lnTo>
                      <a:pt x="638" y="324"/>
                    </a:lnTo>
                    <a:lnTo>
                      <a:pt x="648" y="362"/>
                    </a:lnTo>
                    <a:lnTo>
                      <a:pt x="654" y="398"/>
                    </a:lnTo>
                    <a:lnTo>
                      <a:pt x="656" y="438"/>
                    </a:lnTo>
                    <a:lnTo>
                      <a:pt x="656" y="438"/>
                    </a:lnTo>
                    <a:lnTo>
                      <a:pt x="654" y="476"/>
                    </a:lnTo>
                    <a:lnTo>
                      <a:pt x="648" y="514"/>
                    </a:lnTo>
                    <a:lnTo>
                      <a:pt x="638" y="552"/>
                    </a:lnTo>
                    <a:lnTo>
                      <a:pt x="626" y="586"/>
                    </a:lnTo>
                    <a:lnTo>
                      <a:pt x="610" y="620"/>
                    </a:lnTo>
                    <a:lnTo>
                      <a:pt x="590" y="652"/>
                    </a:lnTo>
                    <a:lnTo>
                      <a:pt x="568" y="680"/>
                    </a:lnTo>
                    <a:lnTo>
                      <a:pt x="544" y="708"/>
                    </a:lnTo>
                    <a:lnTo>
                      <a:pt x="516" y="732"/>
                    </a:lnTo>
                    <a:lnTo>
                      <a:pt x="488" y="754"/>
                    </a:lnTo>
                    <a:lnTo>
                      <a:pt x="456" y="774"/>
                    </a:lnTo>
                    <a:lnTo>
                      <a:pt x="422" y="790"/>
                    </a:lnTo>
                    <a:lnTo>
                      <a:pt x="388" y="802"/>
                    </a:lnTo>
                    <a:lnTo>
                      <a:pt x="352" y="812"/>
                    </a:lnTo>
                    <a:lnTo>
                      <a:pt x="314" y="818"/>
                    </a:lnTo>
                    <a:lnTo>
                      <a:pt x="274" y="820"/>
                    </a:lnTo>
                    <a:lnTo>
                      <a:pt x="274" y="820"/>
                    </a:lnTo>
                    <a:close/>
                  </a:path>
                </a:pathLst>
              </a:custGeom>
              <a:grpFill/>
              <a:ln>
                <a:noFill/>
              </a:ln>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latin typeface="Segoe UI"/>
                </a:endParaRPr>
              </a:p>
            </p:txBody>
          </p:sp>
        </p:grpSp>
        <p:grpSp>
          <p:nvGrpSpPr>
            <p:cNvPr id="11" name="Group 10"/>
            <p:cNvGrpSpPr/>
            <p:nvPr/>
          </p:nvGrpSpPr>
          <p:grpSpPr>
            <a:xfrm>
              <a:off x="9872701" y="3060921"/>
              <a:ext cx="1878892" cy="1542780"/>
              <a:chOff x="9910801" y="2434267"/>
              <a:chExt cx="1878892" cy="1542780"/>
            </a:xfrm>
          </p:grpSpPr>
          <p:sp>
            <p:nvSpPr>
              <p:cNvPr id="12" name="TextBox 11"/>
              <p:cNvSpPr txBox="1"/>
              <p:nvPr/>
            </p:nvSpPr>
            <p:spPr>
              <a:xfrm>
                <a:off x="9910801" y="3234749"/>
                <a:ext cx="1090058" cy="461622"/>
              </a:xfrm>
              <a:prstGeom prst="rect">
                <a:avLst/>
              </a:prstGeom>
              <a:noFill/>
            </p:spPr>
            <p:txBody>
              <a:bodyPr wrap="square" lIns="182828" tIns="146262" rIns="182828" bIns="146262" rtlCol="0">
                <a:spAutoFit/>
              </a:bodyPr>
              <a:lstStyle/>
              <a:p>
                <a:pPr defTabSz="932384">
                  <a:lnSpc>
                    <a:spcPct val="90000"/>
                  </a:lnSpc>
                  <a:spcBef>
                    <a:spcPct val="0"/>
                  </a:spcBef>
                  <a:spcAft>
                    <a:spcPts val="600"/>
                  </a:spcAft>
                  <a:defRPr/>
                </a:pPr>
                <a:r>
                  <a:rPr lang="en-US" sz="1200" kern="0" spc="-30" dirty="0">
                    <a:solidFill>
                      <a:srgbClr val="002050"/>
                    </a:solidFill>
                    <a:latin typeface="Segoe UI Semilight" panose="020B0402040204020203" pitchFamily="34" charset="0"/>
                    <a:cs typeface="Segoe UI Semilight" panose="020B0402040204020203" pitchFamily="34" charset="0"/>
                  </a:rPr>
                  <a:t>Apps</a:t>
                </a:r>
              </a:p>
            </p:txBody>
          </p:sp>
          <p:grpSp>
            <p:nvGrpSpPr>
              <p:cNvPr id="13" name="Group 12"/>
              <p:cNvGrpSpPr/>
              <p:nvPr/>
            </p:nvGrpSpPr>
            <p:grpSpPr>
              <a:xfrm>
                <a:off x="10012430" y="2917883"/>
                <a:ext cx="462396" cy="357669"/>
                <a:chOff x="5007615" y="2323753"/>
                <a:chExt cx="649029" cy="502032"/>
              </a:xfrm>
              <a:solidFill>
                <a:srgbClr val="0078D7"/>
              </a:solidFill>
            </p:grpSpPr>
            <p:sp>
              <p:nvSpPr>
                <p:cNvPr id="23" name="Freeform 22"/>
                <p:cNvSpPr>
                  <a:spLocks/>
                </p:cNvSpPr>
                <p:nvPr/>
              </p:nvSpPr>
              <p:spPr bwMode="auto">
                <a:xfrm>
                  <a:off x="5175285" y="2455306"/>
                  <a:ext cx="313688" cy="314768"/>
                </a:xfrm>
                <a:custGeom>
                  <a:avLst/>
                  <a:gdLst>
                    <a:gd name="connsiteX0" fmla="*/ 193673 w 319670"/>
                    <a:gd name="connsiteY0" fmla="*/ 280605 h 320770"/>
                    <a:gd name="connsiteX1" fmla="*/ 165888 w 319670"/>
                    <a:gd name="connsiteY1" fmla="*/ 281661 h 320770"/>
                    <a:gd name="connsiteX2" fmla="*/ 167460 w 319670"/>
                    <a:gd name="connsiteY2" fmla="*/ 307015 h 320770"/>
                    <a:gd name="connsiteX3" fmla="*/ 181091 w 319670"/>
                    <a:gd name="connsiteY3" fmla="*/ 305430 h 320770"/>
                    <a:gd name="connsiteX4" fmla="*/ 193673 w 319670"/>
                    <a:gd name="connsiteY4" fmla="*/ 280605 h 320770"/>
                    <a:gd name="connsiteX5" fmla="*/ 127923 w 319670"/>
                    <a:gd name="connsiteY5" fmla="*/ 280054 h 320770"/>
                    <a:gd name="connsiteX6" fmla="*/ 141657 w 319670"/>
                    <a:gd name="connsiteY6" fmla="*/ 305957 h 320770"/>
                    <a:gd name="connsiteX7" fmla="*/ 154333 w 319670"/>
                    <a:gd name="connsiteY7" fmla="*/ 307015 h 320770"/>
                    <a:gd name="connsiteX8" fmla="*/ 152749 w 319670"/>
                    <a:gd name="connsiteY8" fmla="*/ 281640 h 320770"/>
                    <a:gd name="connsiteX9" fmla="*/ 127923 w 319670"/>
                    <a:gd name="connsiteY9" fmla="*/ 280054 h 320770"/>
                    <a:gd name="connsiteX10" fmla="*/ 226960 w 319670"/>
                    <a:gd name="connsiteY10" fmla="*/ 275378 h 320770"/>
                    <a:gd name="connsiteX11" fmla="*/ 209629 w 319670"/>
                    <a:gd name="connsiteY11" fmla="*/ 278547 h 320770"/>
                    <a:gd name="connsiteX12" fmla="*/ 198075 w 319670"/>
                    <a:gd name="connsiteY12" fmla="*/ 301788 h 320770"/>
                    <a:gd name="connsiteX13" fmla="*/ 204377 w 319670"/>
                    <a:gd name="connsiteY13" fmla="*/ 300203 h 320770"/>
                    <a:gd name="connsiteX14" fmla="*/ 226960 w 319670"/>
                    <a:gd name="connsiteY14" fmla="*/ 275378 h 320770"/>
                    <a:gd name="connsiteX15" fmla="*/ 94911 w 319670"/>
                    <a:gd name="connsiteY15" fmla="*/ 274277 h 320770"/>
                    <a:gd name="connsiteX16" fmla="*/ 120163 w 319670"/>
                    <a:gd name="connsiteY16" fmla="*/ 301828 h 320770"/>
                    <a:gd name="connsiteX17" fmla="*/ 124897 w 319670"/>
                    <a:gd name="connsiteY17" fmla="*/ 302888 h 320770"/>
                    <a:gd name="connsiteX18" fmla="*/ 112797 w 319670"/>
                    <a:gd name="connsiteY18" fmla="*/ 277456 h 320770"/>
                    <a:gd name="connsiteX19" fmla="*/ 94911 w 319670"/>
                    <a:gd name="connsiteY19" fmla="*/ 274277 h 320770"/>
                    <a:gd name="connsiteX20" fmla="*/ 261623 w 319670"/>
                    <a:gd name="connsiteY20" fmla="*/ 266024 h 320770"/>
                    <a:gd name="connsiteX21" fmla="*/ 247511 w 319670"/>
                    <a:gd name="connsiteY21" fmla="*/ 270781 h 320770"/>
                    <a:gd name="connsiteX22" fmla="*/ 235489 w 319670"/>
                    <a:gd name="connsiteY22" fmla="*/ 286107 h 320770"/>
                    <a:gd name="connsiteX23" fmla="*/ 261623 w 319670"/>
                    <a:gd name="connsiteY23" fmla="*/ 266024 h 320770"/>
                    <a:gd name="connsiteX24" fmla="*/ 53646 w 319670"/>
                    <a:gd name="connsiteY24" fmla="*/ 261072 h 320770"/>
                    <a:gd name="connsiteX25" fmla="*/ 90509 w 319670"/>
                    <a:gd name="connsiteY25" fmla="*/ 289683 h 320770"/>
                    <a:gd name="connsiteX26" fmla="*/ 74184 w 319670"/>
                    <a:gd name="connsiteY26" fmla="*/ 268490 h 320770"/>
                    <a:gd name="connsiteX27" fmla="*/ 53646 w 319670"/>
                    <a:gd name="connsiteY27" fmla="*/ 261072 h 320770"/>
                    <a:gd name="connsiteX28" fmla="*/ 213205 w 319670"/>
                    <a:gd name="connsiteY28" fmla="*/ 224209 h 320770"/>
                    <a:gd name="connsiteX29" fmla="*/ 163687 w 319670"/>
                    <a:gd name="connsiteY29" fmla="*/ 228957 h 320770"/>
                    <a:gd name="connsiteX30" fmla="*/ 165267 w 319670"/>
                    <a:gd name="connsiteY30" fmla="*/ 269051 h 320770"/>
                    <a:gd name="connsiteX31" fmla="*/ 200035 w 319670"/>
                    <a:gd name="connsiteY31" fmla="*/ 266413 h 320770"/>
                    <a:gd name="connsiteX32" fmla="*/ 213205 w 319670"/>
                    <a:gd name="connsiteY32" fmla="*/ 224209 h 320770"/>
                    <a:gd name="connsiteX33" fmla="*/ 108941 w 319670"/>
                    <a:gd name="connsiteY33" fmla="*/ 224209 h 320770"/>
                    <a:gd name="connsiteX34" fmla="*/ 122109 w 319670"/>
                    <a:gd name="connsiteY34" fmla="*/ 265864 h 320770"/>
                    <a:gd name="connsiteX35" fmla="*/ 152132 w 319670"/>
                    <a:gd name="connsiteY35" fmla="*/ 268500 h 320770"/>
                    <a:gd name="connsiteX36" fmla="*/ 150552 w 319670"/>
                    <a:gd name="connsiteY36" fmla="*/ 228954 h 320770"/>
                    <a:gd name="connsiteX37" fmla="*/ 108941 w 319670"/>
                    <a:gd name="connsiteY37" fmla="*/ 224209 h 320770"/>
                    <a:gd name="connsiteX38" fmla="*/ 58322 w 319670"/>
                    <a:gd name="connsiteY38" fmla="*/ 209903 h 320770"/>
                    <a:gd name="connsiteX39" fmla="*/ 82669 w 319670"/>
                    <a:gd name="connsiteY39" fmla="*/ 257461 h 320770"/>
                    <a:gd name="connsiteX40" fmla="*/ 107016 w 319670"/>
                    <a:gd name="connsiteY40" fmla="*/ 263273 h 320770"/>
                    <a:gd name="connsiteX41" fmla="*/ 94842 w 319670"/>
                    <a:gd name="connsiteY41" fmla="*/ 221000 h 320770"/>
                    <a:gd name="connsiteX42" fmla="*/ 58322 w 319670"/>
                    <a:gd name="connsiteY42" fmla="*/ 209903 h 320770"/>
                    <a:gd name="connsiteX43" fmla="*/ 264925 w 319670"/>
                    <a:gd name="connsiteY43" fmla="*/ 209078 h 320770"/>
                    <a:gd name="connsiteX44" fmla="*/ 227505 w 319670"/>
                    <a:gd name="connsiteY44" fmla="*/ 221190 h 320770"/>
                    <a:gd name="connsiteX45" fmla="*/ 214856 w 319670"/>
                    <a:gd name="connsiteY45" fmla="*/ 264374 h 320770"/>
                    <a:gd name="connsiteX46" fmla="*/ 239100 w 319670"/>
                    <a:gd name="connsiteY46" fmla="*/ 259634 h 320770"/>
                    <a:gd name="connsiteX47" fmla="*/ 264925 w 319670"/>
                    <a:gd name="connsiteY47" fmla="*/ 209078 h 320770"/>
                    <a:gd name="connsiteX48" fmla="*/ 303989 w 319670"/>
                    <a:gd name="connsiteY48" fmla="*/ 187895 h 320770"/>
                    <a:gd name="connsiteX49" fmla="*/ 280765 w 319670"/>
                    <a:gd name="connsiteY49" fmla="*/ 201624 h 320770"/>
                    <a:gd name="connsiteX50" fmla="*/ 258597 w 319670"/>
                    <a:gd name="connsiteY50" fmla="*/ 253370 h 320770"/>
                    <a:gd name="connsiteX51" fmla="*/ 279710 w 319670"/>
                    <a:gd name="connsiteY51" fmla="*/ 244921 h 320770"/>
                    <a:gd name="connsiteX52" fmla="*/ 303989 w 319670"/>
                    <a:gd name="connsiteY52" fmla="*/ 187895 h 320770"/>
                    <a:gd name="connsiteX53" fmla="*/ 15131 w 319670"/>
                    <a:gd name="connsiteY53" fmla="*/ 186244 h 320770"/>
                    <a:gd name="connsiteX54" fmla="*/ 35764 w 319670"/>
                    <a:gd name="connsiteY54" fmla="*/ 239029 h 320770"/>
                    <a:gd name="connsiteX55" fmla="*/ 63274 w 319670"/>
                    <a:gd name="connsiteY55" fmla="*/ 251169 h 320770"/>
                    <a:gd name="connsiteX56" fmla="*/ 42641 w 319670"/>
                    <a:gd name="connsiteY56" fmla="*/ 202607 h 320770"/>
                    <a:gd name="connsiteX57" fmla="*/ 15131 w 319670"/>
                    <a:gd name="connsiteY57" fmla="*/ 186244 h 320770"/>
                    <a:gd name="connsiteX58" fmla="*/ 220633 w 319670"/>
                    <a:gd name="connsiteY58" fmla="*/ 169463 h 320770"/>
                    <a:gd name="connsiteX59" fmla="*/ 162861 w 319670"/>
                    <a:gd name="connsiteY59" fmla="*/ 176816 h 320770"/>
                    <a:gd name="connsiteX60" fmla="*/ 163386 w 319670"/>
                    <a:gd name="connsiteY60" fmla="*/ 215680 h 320770"/>
                    <a:gd name="connsiteX61" fmla="*/ 216431 w 319670"/>
                    <a:gd name="connsiteY61" fmla="*/ 209903 h 320770"/>
                    <a:gd name="connsiteX62" fmla="*/ 220633 w 319670"/>
                    <a:gd name="connsiteY62" fmla="*/ 169463 h 320770"/>
                    <a:gd name="connsiteX63" fmla="*/ 101513 w 319670"/>
                    <a:gd name="connsiteY63" fmla="*/ 169463 h 320770"/>
                    <a:gd name="connsiteX64" fmla="*/ 105748 w 319670"/>
                    <a:gd name="connsiteY64" fmla="*/ 210428 h 320770"/>
                    <a:gd name="connsiteX65" fmla="*/ 150207 w 319670"/>
                    <a:gd name="connsiteY65" fmla="*/ 215680 h 320770"/>
                    <a:gd name="connsiteX66" fmla="*/ 149678 w 319670"/>
                    <a:gd name="connsiteY66" fmla="*/ 176291 h 320770"/>
                    <a:gd name="connsiteX67" fmla="*/ 101513 w 319670"/>
                    <a:gd name="connsiteY67" fmla="*/ 169463 h 320770"/>
                    <a:gd name="connsiteX68" fmla="*/ 51121 w 319670"/>
                    <a:gd name="connsiteY68" fmla="*/ 149931 h 320770"/>
                    <a:gd name="connsiteX69" fmla="*/ 50069 w 319670"/>
                    <a:gd name="connsiteY69" fmla="*/ 159953 h 320770"/>
                    <a:gd name="connsiteX70" fmla="*/ 53752 w 319670"/>
                    <a:gd name="connsiteY70" fmla="*/ 193713 h 320770"/>
                    <a:gd name="connsiteX71" fmla="*/ 92160 w 319670"/>
                    <a:gd name="connsiteY71" fmla="*/ 207427 h 320770"/>
                    <a:gd name="connsiteX72" fmla="*/ 89003 w 319670"/>
                    <a:gd name="connsiteY72" fmla="*/ 166283 h 320770"/>
                    <a:gd name="connsiteX73" fmla="*/ 51121 w 319670"/>
                    <a:gd name="connsiteY73" fmla="*/ 149931 h 320770"/>
                    <a:gd name="connsiteX74" fmla="*/ 271850 w 319670"/>
                    <a:gd name="connsiteY74" fmla="*/ 148830 h 320770"/>
                    <a:gd name="connsiteX75" fmla="*/ 233420 w 319670"/>
                    <a:gd name="connsiteY75" fmla="*/ 165717 h 320770"/>
                    <a:gd name="connsiteX76" fmla="*/ 230262 w 319670"/>
                    <a:gd name="connsiteY76" fmla="*/ 206877 h 320770"/>
                    <a:gd name="connsiteX77" fmla="*/ 269218 w 319670"/>
                    <a:gd name="connsiteY77" fmla="*/ 193157 h 320770"/>
                    <a:gd name="connsiteX78" fmla="*/ 272903 w 319670"/>
                    <a:gd name="connsiteY78" fmla="*/ 159912 h 320770"/>
                    <a:gd name="connsiteX79" fmla="*/ 271850 w 319670"/>
                    <a:gd name="connsiteY79" fmla="*/ 148830 h 320770"/>
                    <a:gd name="connsiteX80" fmla="*/ 302793 w 319670"/>
                    <a:gd name="connsiteY80" fmla="*/ 126547 h 320770"/>
                    <a:gd name="connsiteX81" fmla="*/ 284431 w 319670"/>
                    <a:gd name="connsiteY81" fmla="*/ 141328 h 320770"/>
                    <a:gd name="connsiteX82" fmla="*/ 286005 w 319670"/>
                    <a:gd name="connsiteY82" fmla="*/ 159805 h 320770"/>
                    <a:gd name="connsiteX83" fmla="*/ 283907 w 319670"/>
                    <a:gd name="connsiteY83" fmla="*/ 185144 h 320770"/>
                    <a:gd name="connsiteX84" fmla="*/ 306465 w 319670"/>
                    <a:gd name="connsiteY84" fmla="*/ 169835 h 320770"/>
                    <a:gd name="connsiteX85" fmla="*/ 306465 w 319670"/>
                    <a:gd name="connsiteY85" fmla="*/ 160333 h 320770"/>
                    <a:gd name="connsiteX86" fmla="*/ 302793 w 319670"/>
                    <a:gd name="connsiteY86" fmla="*/ 126547 h 320770"/>
                    <a:gd name="connsiteX87" fmla="*/ 17427 w 319670"/>
                    <a:gd name="connsiteY87" fmla="*/ 125172 h 320770"/>
                    <a:gd name="connsiteX88" fmla="*/ 13205 w 319670"/>
                    <a:gd name="connsiteY88" fmla="*/ 160446 h 320770"/>
                    <a:gd name="connsiteX89" fmla="*/ 13205 w 319670"/>
                    <a:gd name="connsiteY89" fmla="*/ 168870 h 320770"/>
                    <a:gd name="connsiteX90" fmla="*/ 39065 w 319670"/>
                    <a:gd name="connsiteY90" fmla="*/ 186244 h 320770"/>
                    <a:gd name="connsiteX91" fmla="*/ 36954 w 319670"/>
                    <a:gd name="connsiteY91" fmla="*/ 159920 h 320770"/>
                    <a:gd name="connsiteX92" fmla="*/ 38537 w 319670"/>
                    <a:gd name="connsiteY92" fmla="*/ 142546 h 320770"/>
                    <a:gd name="connsiteX93" fmla="*/ 17427 w 319670"/>
                    <a:gd name="connsiteY93" fmla="*/ 125172 h 320770"/>
                    <a:gd name="connsiteX94" fmla="*/ 215883 w 319670"/>
                    <a:gd name="connsiteY94" fmla="*/ 122420 h 320770"/>
                    <a:gd name="connsiteX95" fmla="*/ 165486 w 319670"/>
                    <a:gd name="connsiteY95" fmla="*/ 128769 h 320770"/>
                    <a:gd name="connsiteX96" fmla="*/ 163386 w 319670"/>
                    <a:gd name="connsiteY96" fmla="*/ 128769 h 320770"/>
                    <a:gd name="connsiteX97" fmla="*/ 162861 w 319670"/>
                    <a:gd name="connsiteY97" fmla="*/ 155221 h 320770"/>
                    <a:gd name="connsiteX98" fmla="*/ 162861 w 319670"/>
                    <a:gd name="connsiteY98" fmla="*/ 163686 h 320770"/>
                    <a:gd name="connsiteX99" fmla="*/ 220083 w 319670"/>
                    <a:gd name="connsiteY99" fmla="*/ 155750 h 320770"/>
                    <a:gd name="connsiteX100" fmla="*/ 215883 w 319670"/>
                    <a:gd name="connsiteY100" fmla="*/ 122420 h 320770"/>
                    <a:gd name="connsiteX101" fmla="*/ 106825 w 319670"/>
                    <a:gd name="connsiteY101" fmla="*/ 120220 h 320770"/>
                    <a:gd name="connsiteX102" fmla="*/ 102064 w 319670"/>
                    <a:gd name="connsiteY102" fmla="*/ 156248 h 320770"/>
                    <a:gd name="connsiteX103" fmla="*/ 149678 w 319670"/>
                    <a:gd name="connsiteY103" fmla="*/ 163136 h 320770"/>
                    <a:gd name="connsiteX104" fmla="*/ 149678 w 319670"/>
                    <a:gd name="connsiteY104" fmla="*/ 155188 h 320770"/>
                    <a:gd name="connsiteX105" fmla="*/ 150207 w 319670"/>
                    <a:gd name="connsiteY105" fmla="*/ 128167 h 320770"/>
                    <a:gd name="connsiteX106" fmla="*/ 106825 w 319670"/>
                    <a:gd name="connsiteY106" fmla="*/ 120220 h 320770"/>
                    <a:gd name="connsiteX107" fmla="*/ 259617 w 319670"/>
                    <a:gd name="connsiteY107" fmla="*/ 103988 h 320770"/>
                    <a:gd name="connsiteX108" fmla="*/ 228611 w 319670"/>
                    <a:gd name="connsiteY108" fmla="*/ 118717 h 320770"/>
                    <a:gd name="connsiteX109" fmla="*/ 233341 w 319670"/>
                    <a:gd name="connsiteY109" fmla="*/ 151856 h 320770"/>
                    <a:gd name="connsiteX110" fmla="*/ 269602 w 319670"/>
                    <a:gd name="connsiteY110" fmla="*/ 135024 h 320770"/>
                    <a:gd name="connsiteX111" fmla="*/ 259617 w 319670"/>
                    <a:gd name="connsiteY111" fmla="*/ 103988 h 320770"/>
                    <a:gd name="connsiteX112" fmla="*/ 65249 w 319670"/>
                    <a:gd name="connsiteY112" fmla="*/ 99862 h 320770"/>
                    <a:gd name="connsiteX113" fmla="*/ 52545 w 319670"/>
                    <a:gd name="connsiteY113" fmla="*/ 136118 h 320770"/>
                    <a:gd name="connsiteX114" fmla="*/ 89068 w 319670"/>
                    <a:gd name="connsiteY114" fmla="*/ 152407 h 320770"/>
                    <a:gd name="connsiteX115" fmla="*/ 94361 w 319670"/>
                    <a:gd name="connsiteY115" fmla="*/ 115625 h 320770"/>
                    <a:gd name="connsiteX116" fmla="*/ 65249 w 319670"/>
                    <a:gd name="connsiteY116" fmla="*/ 99862 h 320770"/>
                    <a:gd name="connsiteX117" fmla="*/ 285381 w 319670"/>
                    <a:gd name="connsiteY117" fmla="*/ 83906 h 320770"/>
                    <a:gd name="connsiteX118" fmla="*/ 270702 w 319670"/>
                    <a:gd name="connsiteY118" fmla="*/ 96554 h 320770"/>
                    <a:gd name="connsiteX119" fmla="*/ 281711 w 319670"/>
                    <a:gd name="connsiteY119" fmla="*/ 127648 h 320770"/>
                    <a:gd name="connsiteX120" fmla="*/ 298487 w 319670"/>
                    <a:gd name="connsiteY120" fmla="*/ 112365 h 320770"/>
                    <a:gd name="connsiteX121" fmla="*/ 285381 w 319670"/>
                    <a:gd name="connsiteY121" fmla="*/ 83906 h 320770"/>
                    <a:gd name="connsiteX122" fmla="*/ 39411 w 319670"/>
                    <a:gd name="connsiteY122" fmla="*/ 75928 h 320770"/>
                    <a:gd name="connsiteX123" fmla="*/ 21458 w 319670"/>
                    <a:gd name="connsiteY123" fmla="*/ 111317 h 320770"/>
                    <a:gd name="connsiteX124" fmla="*/ 40995 w 319670"/>
                    <a:gd name="connsiteY124" fmla="*/ 128748 h 320770"/>
                    <a:gd name="connsiteX125" fmla="*/ 54196 w 319670"/>
                    <a:gd name="connsiteY125" fmla="*/ 91774 h 320770"/>
                    <a:gd name="connsiteX126" fmla="*/ 39411 w 319670"/>
                    <a:gd name="connsiteY126" fmla="*/ 75928 h 320770"/>
                    <a:gd name="connsiteX127" fmla="*/ 201616 w 319670"/>
                    <a:gd name="connsiteY127" fmla="*/ 73452 h 320770"/>
                    <a:gd name="connsiteX128" fmla="*/ 165267 w 319670"/>
                    <a:gd name="connsiteY128" fmla="*/ 78187 h 320770"/>
                    <a:gd name="connsiteX129" fmla="*/ 164740 w 319670"/>
                    <a:gd name="connsiteY129" fmla="*/ 78187 h 320770"/>
                    <a:gd name="connsiteX130" fmla="*/ 163687 w 319670"/>
                    <a:gd name="connsiteY130" fmla="*/ 115543 h 320770"/>
                    <a:gd name="connsiteX131" fmla="*/ 165267 w 319670"/>
                    <a:gd name="connsiteY131" fmla="*/ 115543 h 320770"/>
                    <a:gd name="connsiteX132" fmla="*/ 213205 w 319670"/>
                    <a:gd name="connsiteY132" fmla="*/ 109756 h 320770"/>
                    <a:gd name="connsiteX133" fmla="*/ 201616 w 319670"/>
                    <a:gd name="connsiteY133" fmla="*/ 73452 h 320770"/>
                    <a:gd name="connsiteX134" fmla="*/ 121592 w 319670"/>
                    <a:gd name="connsiteY134" fmla="*/ 70701 h 320770"/>
                    <a:gd name="connsiteX135" fmla="*/ 109491 w 319670"/>
                    <a:gd name="connsiteY135" fmla="*/ 107084 h 320770"/>
                    <a:gd name="connsiteX136" fmla="*/ 150530 w 319670"/>
                    <a:gd name="connsiteY136" fmla="*/ 114993 h 320770"/>
                    <a:gd name="connsiteX137" fmla="*/ 151582 w 319670"/>
                    <a:gd name="connsiteY137" fmla="*/ 77028 h 320770"/>
                    <a:gd name="connsiteX138" fmla="*/ 121592 w 319670"/>
                    <a:gd name="connsiteY138" fmla="*/ 70701 h 320770"/>
                    <a:gd name="connsiteX139" fmla="*/ 233321 w 319670"/>
                    <a:gd name="connsiteY139" fmla="*/ 59697 h 320770"/>
                    <a:gd name="connsiteX140" fmla="*/ 214306 w 319670"/>
                    <a:gd name="connsiteY140" fmla="*/ 69207 h 320770"/>
                    <a:gd name="connsiteX141" fmla="*/ 225926 w 319670"/>
                    <a:gd name="connsiteY141" fmla="*/ 106189 h 320770"/>
                    <a:gd name="connsiteX142" fmla="*/ 253921 w 319670"/>
                    <a:gd name="connsiteY142" fmla="*/ 92453 h 320770"/>
                    <a:gd name="connsiteX143" fmla="*/ 233321 w 319670"/>
                    <a:gd name="connsiteY143" fmla="*/ 59697 h 320770"/>
                    <a:gd name="connsiteX144" fmla="*/ 92595 w 319670"/>
                    <a:gd name="connsiteY144" fmla="*/ 55846 h 320770"/>
                    <a:gd name="connsiteX145" fmla="*/ 70977 w 319670"/>
                    <a:gd name="connsiteY145" fmla="*/ 88088 h 320770"/>
                    <a:gd name="connsiteX146" fmla="*/ 97341 w 319670"/>
                    <a:gd name="connsiteY146" fmla="*/ 102888 h 320770"/>
                    <a:gd name="connsiteX147" fmla="*/ 108941 w 319670"/>
                    <a:gd name="connsiteY147" fmla="*/ 65360 h 320770"/>
                    <a:gd name="connsiteX148" fmla="*/ 92595 w 319670"/>
                    <a:gd name="connsiteY148" fmla="*/ 55846 h 320770"/>
                    <a:gd name="connsiteX149" fmla="*/ 251144 w 319670"/>
                    <a:gd name="connsiteY149" fmla="*/ 44842 h 320770"/>
                    <a:gd name="connsiteX150" fmla="*/ 243742 w 319670"/>
                    <a:gd name="connsiteY150" fmla="*/ 51712 h 320770"/>
                    <a:gd name="connsiteX151" fmla="*/ 264890 w 319670"/>
                    <a:gd name="connsiteY151" fmla="*/ 85007 h 320770"/>
                    <a:gd name="connsiteX152" fmla="*/ 277579 w 319670"/>
                    <a:gd name="connsiteY152" fmla="*/ 72851 h 320770"/>
                    <a:gd name="connsiteX153" fmla="*/ 251144 w 319670"/>
                    <a:gd name="connsiteY153" fmla="*/ 44842 h 320770"/>
                    <a:gd name="connsiteX154" fmla="*/ 75908 w 319670"/>
                    <a:gd name="connsiteY154" fmla="*/ 39614 h 320770"/>
                    <a:gd name="connsiteX155" fmla="*/ 47868 w 319670"/>
                    <a:gd name="connsiteY155" fmla="*/ 65510 h 320770"/>
                    <a:gd name="connsiteX156" fmla="*/ 60565 w 319670"/>
                    <a:gd name="connsiteY156" fmla="*/ 79779 h 320770"/>
                    <a:gd name="connsiteX157" fmla="*/ 82256 w 319670"/>
                    <a:gd name="connsiteY157" fmla="*/ 47013 h 320770"/>
                    <a:gd name="connsiteX158" fmla="*/ 75908 w 319670"/>
                    <a:gd name="connsiteY158" fmla="*/ 39614 h 320770"/>
                    <a:gd name="connsiteX159" fmla="*/ 224484 w 319670"/>
                    <a:gd name="connsiteY159" fmla="*/ 28060 h 320770"/>
                    <a:gd name="connsiteX160" fmla="*/ 236003 w 319670"/>
                    <a:gd name="connsiteY160" fmla="*/ 41815 h 320770"/>
                    <a:gd name="connsiteX161" fmla="*/ 240716 w 319670"/>
                    <a:gd name="connsiteY161" fmla="*/ 37583 h 320770"/>
                    <a:gd name="connsiteX162" fmla="*/ 224484 w 319670"/>
                    <a:gd name="connsiteY162" fmla="*/ 28060 h 320770"/>
                    <a:gd name="connsiteX163" fmla="*/ 101238 w 319670"/>
                    <a:gd name="connsiteY163" fmla="*/ 25309 h 320770"/>
                    <a:gd name="connsiteX164" fmla="*/ 86933 w 319670"/>
                    <a:gd name="connsiteY164" fmla="*/ 32662 h 320770"/>
                    <a:gd name="connsiteX165" fmla="*/ 90642 w 319670"/>
                    <a:gd name="connsiteY165" fmla="*/ 36863 h 320770"/>
                    <a:gd name="connsiteX166" fmla="*/ 101238 w 319670"/>
                    <a:gd name="connsiteY166" fmla="*/ 25309 h 320770"/>
                    <a:gd name="connsiteX167" fmla="*/ 189546 w 319670"/>
                    <a:gd name="connsiteY167" fmla="*/ 16506 h 320770"/>
                    <a:gd name="connsiteX168" fmla="*/ 209532 w 319670"/>
                    <a:gd name="connsiteY168" fmla="*/ 56946 h 320770"/>
                    <a:gd name="connsiteX169" fmla="*/ 225310 w 319670"/>
                    <a:gd name="connsiteY169" fmla="*/ 49068 h 320770"/>
                    <a:gd name="connsiteX170" fmla="*/ 194280 w 319670"/>
                    <a:gd name="connsiteY170" fmla="*/ 17556 h 320770"/>
                    <a:gd name="connsiteX171" fmla="*/ 189546 w 319670"/>
                    <a:gd name="connsiteY171" fmla="*/ 16506 h 320770"/>
                    <a:gd name="connsiteX172" fmla="*/ 132600 w 319670"/>
                    <a:gd name="connsiteY172" fmla="*/ 15955 h 320770"/>
                    <a:gd name="connsiteX173" fmla="*/ 128938 w 319670"/>
                    <a:gd name="connsiteY173" fmla="*/ 16483 h 320770"/>
                    <a:gd name="connsiteX174" fmla="*/ 100688 w 319670"/>
                    <a:gd name="connsiteY174" fmla="*/ 46010 h 320770"/>
                    <a:gd name="connsiteX175" fmla="*/ 114290 w 319670"/>
                    <a:gd name="connsiteY175" fmla="*/ 53920 h 320770"/>
                    <a:gd name="connsiteX176" fmla="*/ 132600 w 319670"/>
                    <a:gd name="connsiteY176" fmla="*/ 15955 h 320770"/>
                    <a:gd name="connsiteX177" fmla="*/ 167974 w 319670"/>
                    <a:gd name="connsiteY177" fmla="*/ 13204 h 320770"/>
                    <a:gd name="connsiteX178" fmla="*/ 165337 w 319670"/>
                    <a:gd name="connsiteY178" fmla="*/ 64924 h 320770"/>
                    <a:gd name="connsiteX179" fmla="*/ 196974 w 319670"/>
                    <a:gd name="connsiteY179" fmla="*/ 60702 h 320770"/>
                    <a:gd name="connsiteX180" fmla="*/ 173247 w 319670"/>
                    <a:gd name="connsiteY180" fmla="*/ 13732 h 320770"/>
                    <a:gd name="connsiteX181" fmla="*/ 167974 w 319670"/>
                    <a:gd name="connsiteY181" fmla="*/ 13204 h 320770"/>
                    <a:gd name="connsiteX182" fmla="*/ 149585 w 319670"/>
                    <a:gd name="connsiteY182" fmla="*/ 13204 h 320770"/>
                    <a:gd name="connsiteX183" fmla="*/ 126273 w 319670"/>
                    <a:gd name="connsiteY183" fmla="*/ 58551 h 320770"/>
                    <a:gd name="connsiteX184" fmla="*/ 152764 w 319670"/>
                    <a:gd name="connsiteY184" fmla="*/ 63823 h 320770"/>
                    <a:gd name="connsiteX185" fmla="*/ 154883 w 319670"/>
                    <a:gd name="connsiteY185" fmla="*/ 13204 h 320770"/>
                    <a:gd name="connsiteX186" fmla="*/ 149585 w 319670"/>
                    <a:gd name="connsiteY186" fmla="*/ 13204 h 320770"/>
                    <a:gd name="connsiteX187" fmla="*/ 160099 w 319670"/>
                    <a:gd name="connsiteY187" fmla="*/ 0 h 320770"/>
                    <a:gd name="connsiteX188" fmla="*/ 248047 w 319670"/>
                    <a:gd name="connsiteY188" fmla="*/ 26906 h 320770"/>
                    <a:gd name="connsiteX189" fmla="*/ 259107 w 319670"/>
                    <a:gd name="connsiteY189" fmla="*/ 34293 h 320770"/>
                    <a:gd name="connsiteX190" fmla="*/ 285965 w 319670"/>
                    <a:gd name="connsiteY190" fmla="*/ 61727 h 320770"/>
                    <a:gd name="connsiteX191" fmla="*/ 293865 w 319670"/>
                    <a:gd name="connsiteY191" fmla="*/ 72806 h 320770"/>
                    <a:gd name="connsiteX192" fmla="*/ 308084 w 319670"/>
                    <a:gd name="connsiteY192" fmla="*/ 100768 h 320770"/>
                    <a:gd name="connsiteX193" fmla="*/ 313350 w 319670"/>
                    <a:gd name="connsiteY193" fmla="*/ 115013 h 320770"/>
                    <a:gd name="connsiteX194" fmla="*/ 319670 w 319670"/>
                    <a:gd name="connsiteY194" fmla="*/ 157747 h 320770"/>
                    <a:gd name="connsiteX195" fmla="*/ 319670 w 319670"/>
                    <a:gd name="connsiteY195" fmla="*/ 160385 h 320770"/>
                    <a:gd name="connsiteX196" fmla="*/ 319144 w 319670"/>
                    <a:gd name="connsiteY196" fmla="*/ 176212 h 320770"/>
                    <a:gd name="connsiteX197" fmla="*/ 302291 w 319670"/>
                    <a:gd name="connsiteY197" fmla="*/ 232664 h 320770"/>
                    <a:gd name="connsiteX198" fmla="*/ 288598 w 319670"/>
                    <a:gd name="connsiteY198" fmla="*/ 254822 h 320770"/>
                    <a:gd name="connsiteX199" fmla="*/ 160099 w 319670"/>
                    <a:gd name="connsiteY199" fmla="*/ 320242 h 320770"/>
                    <a:gd name="connsiteX200" fmla="*/ 159572 w 319670"/>
                    <a:gd name="connsiteY200" fmla="*/ 320242 h 320770"/>
                    <a:gd name="connsiteX201" fmla="*/ 155359 w 319670"/>
                    <a:gd name="connsiteY201" fmla="*/ 320770 h 320770"/>
                    <a:gd name="connsiteX202" fmla="*/ 155359 w 319670"/>
                    <a:gd name="connsiteY202" fmla="*/ 320242 h 320770"/>
                    <a:gd name="connsiteX203" fmla="*/ 26332 w 319670"/>
                    <a:gd name="connsiteY203" fmla="*/ 248491 h 320770"/>
                    <a:gd name="connsiteX204" fmla="*/ 13693 w 319670"/>
                    <a:gd name="connsiteY204" fmla="*/ 225278 h 320770"/>
                    <a:gd name="connsiteX205" fmla="*/ 527 w 319670"/>
                    <a:gd name="connsiteY205" fmla="*/ 174630 h 320770"/>
                    <a:gd name="connsiteX206" fmla="*/ 0 w 319670"/>
                    <a:gd name="connsiteY206" fmla="*/ 160385 h 320770"/>
                    <a:gd name="connsiteX207" fmla="*/ 0 w 319670"/>
                    <a:gd name="connsiteY207" fmla="*/ 156164 h 320770"/>
                    <a:gd name="connsiteX208" fmla="*/ 6847 w 319670"/>
                    <a:gd name="connsiteY208" fmla="*/ 113958 h 320770"/>
                    <a:gd name="connsiteX209" fmla="*/ 12113 w 319670"/>
                    <a:gd name="connsiteY209" fmla="*/ 99185 h 320770"/>
                    <a:gd name="connsiteX210" fmla="*/ 32125 w 319670"/>
                    <a:gd name="connsiteY210" fmla="*/ 64365 h 320770"/>
                    <a:gd name="connsiteX211" fmla="*/ 41078 w 319670"/>
                    <a:gd name="connsiteY211" fmla="*/ 52758 h 320770"/>
                    <a:gd name="connsiteX212" fmla="*/ 68990 w 319670"/>
                    <a:gd name="connsiteY212" fmla="*/ 28489 h 320770"/>
                    <a:gd name="connsiteX213" fmla="*/ 80576 w 319670"/>
                    <a:gd name="connsiteY213" fmla="*/ 21103 h 320770"/>
                    <a:gd name="connsiteX214" fmla="*/ 160099 w 319670"/>
                    <a:gd name="connsiteY214" fmla="*/ 0 h 320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Lst>
                  <a:rect l="l" t="t" r="r" b="b"/>
                  <a:pathLst>
                    <a:path w="319670" h="320770">
                      <a:moveTo>
                        <a:pt x="193673" y="280605"/>
                      </a:moveTo>
                      <a:cubicBezTo>
                        <a:pt x="184761" y="281133"/>
                        <a:pt x="175324" y="281661"/>
                        <a:pt x="165888" y="281661"/>
                      </a:cubicBezTo>
                      <a:cubicBezTo>
                        <a:pt x="166412" y="292225"/>
                        <a:pt x="166936" y="300676"/>
                        <a:pt x="167460" y="307015"/>
                      </a:cubicBezTo>
                      <a:cubicBezTo>
                        <a:pt x="172179" y="306486"/>
                        <a:pt x="176373" y="305958"/>
                        <a:pt x="181091" y="305430"/>
                      </a:cubicBezTo>
                      <a:cubicBezTo>
                        <a:pt x="183188" y="301733"/>
                        <a:pt x="188430" y="292753"/>
                        <a:pt x="193673" y="280605"/>
                      </a:cubicBezTo>
                      <a:close/>
                      <a:moveTo>
                        <a:pt x="127923" y="280054"/>
                      </a:moveTo>
                      <a:cubicBezTo>
                        <a:pt x="133734" y="293270"/>
                        <a:pt x="139016" y="302257"/>
                        <a:pt x="141657" y="305957"/>
                      </a:cubicBezTo>
                      <a:cubicBezTo>
                        <a:pt x="145882" y="306486"/>
                        <a:pt x="150108" y="307015"/>
                        <a:pt x="154333" y="307015"/>
                      </a:cubicBezTo>
                      <a:cubicBezTo>
                        <a:pt x="153805" y="300671"/>
                        <a:pt x="153277" y="291684"/>
                        <a:pt x="152749" y="281640"/>
                      </a:cubicBezTo>
                      <a:cubicBezTo>
                        <a:pt x="144298" y="281640"/>
                        <a:pt x="135846" y="280583"/>
                        <a:pt x="127923" y="280054"/>
                      </a:cubicBezTo>
                      <a:close/>
                      <a:moveTo>
                        <a:pt x="226960" y="275378"/>
                      </a:moveTo>
                      <a:cubicBezTo>
                        <a:pt x="221183" y="276962"/>
                        <a:pt x="215406" y="277491"/>
                        <a:pt x="209629" y="278547"/>
                      </a:cubicBezTo>
                      <a:cubicBezTo>
                        <a:pt x="205427" y="288055"/>
                        <a:pt x="201226" y="295978"/>
                        <a:pt x="198075" y="301788"/>
                      </a:cubicBezTo>
                      <a:cubicBezTo>
                        <a:pt x="200175" y="301260"/>
                        <a:pt x="202276" y="300731"/>
                        <a:pt x="204377" y="300203"/>
                      </a:cubicBezTo>
                      <a:cubicBezTo>
                        <a:pt x="208053" y="296506"/>
                        <a:pt x="216982" y="288055"/>
                        <a:pt x="226960" y="275378"/>
                      </a:cubicBezTo>
                      <a:close/>
                      <a:moveTo>
                        <a:pt x="94911" y="274277"/>
                      </a:moveTo>
                      <a:cubicBezTo>
                        <a:pt x="107537" y="290172"/>
                        <a:pt x="118584" y="300239"/>
                        <a:pt x="120163" y="301828"/>
                      </a:cubicBezTo>
                      <a:cubicBezTo>
                        <a:pt x="121741" y="302358"/>
                        <a:pt x="123319" y="302358"/>
                        <a:pt x="124897" y="302888"/>
                      </a:cubicBezTo>
                      <a:cubicBezTo>
                        <a:pt x="121215" y="296530"/>
                        <a:pt x="117006" y="288053"/>
                        <a:pt x="112797" y="277456"/>
                      </a:cubicBezTo>
                      <a:cubicBezTo>
                        <a:pt x="106485" y="276927"/>
                        <a:pt x="100698" y="275337"/>
                        <a:pt x="94911" y="274277"/>
                      </a:cubicBezTo>
                      <a:close/>
                      <a:moveTo>
                        <a:pt x="261623" y="266024"/>
                      </a:moveTo>
                      <a:cubicBezTo>
                        <a:pt x="256919" y="267610"/>
                        <a:pt x="252215" y="269195"/>
                        <a:pt x="247511" y="270781"/>
                      </a:cubicBezTo>
                      <a:cubicBezTo>
                        <a:pt x="243329" y="276066"/>
                        <a:pt x="239670" y="281351"/>
                        <a:pt x="235489" y="286107"/>
                      </a:cubicBezTo>
                      <a:cubicBezTo>
                        <a:pt x="244897" y="280294"/>
                        <a:pt x="253783" y="273952"/>
                        <a:pt x="261623" y="266024"/>
                      </a:cubicBezTo>
                      <a:close/>
                      <a:moveTo>
                        <a:pt x="53646" y="261072"/>
                      </a:moveTo>
                      <a:cubicBezTo>
                        <a:pt x="64178" y="272729"/>
                        <a:pt x="76817" y="282266"/>
                        <a:pt x="90509" y="289683"/>
                      </a:cubicBezTo>
                      <a:cubicBezTo>
                        <a:pt x="85243" y="283855"/>
                        <a:pt x="79977" y="276438"/>
                        <a:pt x="74184" y="268490"/>
                      </a:cubicBezTo>
                      <a:cubicBezTo>
                        <a:pt x="66811" y="266371"/>
                        <a:pt x="59965" y="264252"/>
                        <a:pt x="53646" y="261072"/>
                      </a:cubicBezTo>
                      <a:close/>
                      <a:moveTo>
                        <a:pt x="213205" y="224209"/>
                      </a:moveTo>
                      <a:cubicBezTo>
                        <a:pt x="197402" y="226846"/>
                        <a:pt x="180544" y="228429"/>
                        <a:pt x="163687" y="228957"/>
                      </a:cubicBezTo>
                      <a:cubicBezTo>
                        <a:pt x="163687" y="243201"/>
                        <a:pt x="164740" y="256917"/>
                        <a:pt x="165267" y="269051"/>
                      </a:cubicBezTo>
                      <a:cubicBezTo>
                        <a:pt x="176857" y="268523"/>
                        <a:pt x="188446" y="267996"/>
                        <a:pt x="200035" y="266413"/>
                      </a:cubicBezTo>
                      <a:cubicBezTo>
                        <a:pt x="204777" y="254279"/>
                        <a:pt x="209518" y="240035"/>
                        <a:pt x="213205" y="224209"/>
                      </a:cubicBezTo>
                      <a:close/>
                      <a:moveTo>
                        <a:pt x="108941" y="224209"/>
                      </a:moveTo>
                      <a:cubicBezTo>
                        <a:pt x="112628" y="240027"/>
                        <a:pt x="117369" y="253736"/>
                        <a:pt x="122109" y="265864"/>
                      </a:cubicBezTo>
                      <a:cubicBezTo>
                        <a:pt x="131590" y="267446"/>
                        <a:pt x="141598" y="267973"/>
                        <a:pt x="152132" y="268500"/>
                      </a:cubicBezTo>
                      <a:cubicBezTo>
                        <a:pt x="151606" y="256373"/>
                        <a:pt x="151079" y="243191"/>
                        <a:pt x="150552" y="228954"/>
                      </a:cubicBezTo>
                      <a:cubicBezTo>
                        <a:pt x="135804" y="228427"/>
                        <a:pt x="122109" y="226845"/>
                        <a:pt x="108941" y="224209"/>
                      </a:cubicBezTo>
                      <a:close/>
                      <a:moveTo>
                        <a:pt x="58322" y="209903"/>
                      </a:moveTo>
                      <a:cubicBezTo>
                        <a:pt x="64673" y="227869"/>
                        <a:pt x="73671" y="243722"/>
                        <a:pt x="82669" y="257461"/>
                      </a:cubicBezTo>
                      <a:cubicBezTo>
                        <a:pt x="90608" y="260103"/>
                        <a:pt x="98547" y="261688"/>
                        <a:pt x="107016" y="263273"/>
                      </a:cubicBezTo>
                      <a:cubicBezTo>
                        <a:pt x="102252" y="251120"/>
                        <a:pt x="98018" y="236852"/>
                        <a:pt x="94842" y="221000"/>
                      </a:cubicBezTo>
                      <a:cubicBezTo>
                        <a:pt x="82140" y="218358"/>
                        <a:pt x="69966" y="214131"/>
                        <a:pt x="58322" y="209903"/>
                      </a:cubicBezTo>
                      <a:close/>
                      <a:moveTo>
                        <a:pt x="264925" y="209078"/>
                      </a:moveTo>
                      <a:cubicBezTo>
                        <a:pt x="253330" y="213818"/>
                        <a:pt x="240681" y="218031"/>
                        <a:pt x="227505" y="221190"/>
                      </a:cubicBezTo>
                      <a:cubicBezTo>
                        <a:pt x="224343" y="236989"/>
                        <a:pt x="219599" y="251735"/>
                        <a:pt x="214856" y="264374"/>
                      </a:cubicBezTo>
                      <a:cubicBezTo>
                        <a:pt x="223289" y="263320"/>
                        <a:pt x="231194" y="261214"/>
                        <a:pt x="239100" y="259634"/>
                      </a:cubicBezTo>
                      <a:cubicBezTo>
                        <a:pt x="248586" y="245415"/>
                        <a:pt x="258073" y="228037"/>
                        <a:pt x="264925" y="209078"/>
                      </a:cubicBezTo>
                      <a:close/>
                      <a:moveTo>
                        <a:pt x="303989" y="187895"/>
                      </a:moveTo>
                      <a:cubicBezTo>
                        <a:pt x="297128" y="192647"/>
                        <a:pt x="289211" y="197399"/>
                        <a:pt x="280765" y="201624"/>
                      </a:cubicBezTo>
                      <a:cubicBezTo>
                        <a:pt x="275487" y="220632"/>
                        <a:pt x="267570" y="238057"/>
                        <a:pt x="258597" y="253370"/>
                      </a:cubicBezTo>
                      <a:cubicBezTo>
                        <a:pt x="265987" y="250729"/>
                        <a:pt x="273376" y="248089"/>
                        <a:pt x="279710" y="244921"/>
                      </a:cubicBezTo>
                      <a:cubicBezTo>
                        <a:pt x="291850" y="228025"/>
                        <a:pt x="300295" y="209016"/>
                        <a:pt x="303989" y="187895"/>
                      </a:cubicBezTo>
                      <a:close/>
                      <a:moveTo>
                        <a:pt x="15131" y="186244"/>
                      </a:moveTo>
                      <a:cubicBezTo>
                        <a:pt x="18834" y="205247"/>
                        <a:pt x="25712" y="223193"/>
                        <a:pt x="35764" y="239029"/>
                      </a:cubicBezTo>
                      <a:cubicBezTo>
                        <a:pt x="44229" y="243251"/>
                        <a:pt x="53751" y="247474"/>
                        <a:pt x="63274" y="251169"/>
                      </a:cubicBezTo>
                      <a:cubicBezTo>
                        <a:pt x="54810" y="236917"/>
                        <a:pt x="47403" y="220554"/>
                        <a:pt x="42641" y="202607"/>
                      </a:cubicBezTo>
                      <a:cubicBezTo>
                        <a:pt x="32590" y="197857"/>
                        <a:pt x="23596" y="192578"/>
                        <a:pt x="15131" y="186244"/>
                      </a:cubicBezTo>
                      <a:close/>
                      <a:moveTo>
                        <a:pt x="220633" y="169463"/>
                      </a:moveTo>
                      <a:cubicBezTo>
                        <a:pt x="202251" y="174190"/>
                        <a:pt x="182819" y="176291"/>
                        <a:pt x="162861" y="176816"/>
                      </a:cubicBezTo>
                      <a:cubicBezTo>
                        <a:pt x="162861" y="189946"/>
                        <a:pt x="162861" y="203076"/>
                        <a:pt x="163386" y="215680"/>
                      </a:cubicBezTo>
                      <a:cubicBezTo>
                        <a:pt x="181768" y="215680"/>
                        <a:pt x="199625" y="213580"/>
                        <a:pt x="216431" y="209903"/>
                      </a:cubicBezTo>
                      <a:cubicBezTo>
                        <a:pt x="218532" y="197298"/>
                        <a:pt x="220108" y="183643"/>
                        <a:pt x="220633" y="169463"/>
                      </a:cubicBezTo>
                      <a:close/>
                      <a:moveTo>
                        <a:pt x="101513" y="169463"/>
                      </a:moveTo>
                      <a:cubicBezTo>
                        <a:pt x="102043" y="183643"/>
                        <a:pt x="103631" y="197298"/>
                        <a:pt x="105748" y="210428"/>
                      </a:cubicBezTo>
                      <a:cubicBezTo>
                        <a:pt x="120038" y="213054"/>
                        <a:pt x="134858" y="215155"/>
                        <a:pt x="150207" y="215680"/>
                      </a:cubicBezTo>
                      <a:cubicBezTo>
                        <a:pt x="149678" y="203076"/>
                        <a:pt x="149678" y="189946"/>
                        <a:pt x="149678" y="176291"/>
                      </a:cubicBezTo>
                      <a:cubicBezTo>
                        <a:pt x="132741" y="175765"/>
                        <a:pt x="116862" y="173139"/>
                        <a:pt x="101513" y="169463"/>
                      </a:cubicBezTo>
                      <a:close/>
                      <a:moveTo>
                        <a:pt x="51121" y="149931"/>
                      </a:moveTo>
                      <a:cubicBezTo>
                        <a:pt x="50595" y="153623"/>
                        <a:pt x="50069" y="156788"/>
                        <a:pt x="50069" y="159953"/>
                      </a:cubicBezTo>
                      <a:cubicBezTo>
                        <a:pt x="50069" y="171558"/>
                        <a:pt x="51647" y="183163"/>
                        <a:pt x="53752" y="193713"/>
                      </a:cubicBezTo>
                      <a:cubicBezTo>
                        <a:pt x="65853" y="198988"/>
                        <a:pt x="78480" y="203735"/>
                        <a:pt x="92160" y="207427"/>
                      </a:cubicBezTo>
                      <a:cubicBezTo>
                        <a:pt x="90055" y="194240"/>
                        <a:pt x="88477" y="180525"/>
                        <a:pt x="89003" y="166283"/>
                      </a:cubicBezTo>
                      <a:cubicBezTo>
                        <a:pt x="75324" y="161536"/>
                        <a:pt x="62170" y="156261"/>
                        <a:pt x="51121" y="149931"/>
                      </a:cubicBezTo>
                      <a:close/>
                      <a:moveTo>
                        <a:pt x="271850" y="148830"/>
                      </a:moveTo>
                      <a:cubicBezTo>
                        <a:pt x="260269" y="155690"/>
                        <a:pt x="247634" y="161495"/>
                        <a:pt x="233420" y="165717"/>
                      </a:cubicBezTo>
                      <a:cubicBezTo>
                        <a:pt x="233947" y="179965"/>
                        <a:pt x="232367" y="193685"/>
                        <a:pt x="230262" y="206877"/>
                      </a:cubicBezTo>
                      <a:cubicBezTo>
                        <a:pt x="244475" y="203183"/>
                        <a:pt x="257110" y="198434"/>
                        <a:pt x="269218" y="193157"/>
                      </a:cubicBezTo>
                      <a:cubicBezTo>
                        <a:pt x="271850" y="182603"/>
                        <a:pt x="272903" y="171521"/>
                        <a:pt x="272903" y="159912"/>
                      </a:cubicBezTo>
                      <a:cubicBezTo>
                        <a:pt x="272903" y="156218"/>
                        <a:pt x="272376" y="152524"/>
                        <a:pt x="271850" y="148830"/>
                      </a:cubicBezTo>
                      <a:close/>
                      <a:moveTo>
                        <a:pt x="302793" y="126547"/>
                      </a:moveTo>
                      <a:cubicBezTo>
                        <a:pt x="297022" y="131826"/>
                        <a:pt x="290727" y="136577"/>
                        <a:pt x="284431" y="141328"/>
                      </a:cubicBezTo>
                      <a:cubicBezTo>
                        <a:pt x="284956" y="147135"/>
                        <a:pt x="286005" y="153470"/>
                        <a:pt x="286005" y="159805"/>
                      </a:cubicBezTo>
                      <a:cubicBezTo>
                        <a:pt x="286005" y="168251"/>
                        <a:pt x="285481" y="176698"/>
                        <a:pt x="283907" y="185144"/>
                      </a:cubicBezTo>
                      <a:cubicBezTo>
                        <a:pt x="292301" y="180393"/>
                        <a:pt x="299645" y="175642"/>
                        <a:pt x="306465" y="169835"/>
                      </a:cubicBezTo>
                      <a:cubicBezTo>
                        <a:pt x="306465" y="166668"/>
                        <a:pt x="306465" y="163500"/>
                        <a:pt x="306465" y="160333"/>
                      </a:cubicBezTo>
                      <a:cubicBezTo>
                        <a:pt x="306465" y="148719"/>
                        <a:pt x="305416" y="137105"/>
                        <a:pt x="302793" y="126547"/>
                      </a:cubicBezTo>
                      <a:close/>
                      <a:moveTo>
                        <a:pt x="17427" y="125172"/>
                      </a:moveTo>
                      <a:cubicBezTo>
                        <a:pt x="14789" y="136754"/>
                        <a:pt x="13205" y="148337"/>
                        <a:pt x="13205" y="160446"/>
                      </a:cubicBezTo>
                      <a:cubicBezTo>
                        <a:pt x="13205" y="163079"/>
                        <a:pt x="13205" y="165711"/>
                        <a:pt x="13205" y="168870"/>
                      </a:cubicBezTo>
                      <a:cubicBezTo>
                        <a:pt x="21122" y="175188"/>
                        <a:pt x="29565" y="180979"/>
                        <a:pt x="39065" y="186244"/>
                      </a:cubicBezTo>
                      <a:cubicBezTo>
                        <a:pt x="37482" y="177821"/>
                        <a:pt x="36954" y="168870"/>
                        <a:pt x="36954" y="159920"/>
                      </a:cubicBezTo>
                      <a:cubicBezTo>
                        <a:pt x="37482" y="154128"/>
                        <a:pt x="38009" y="148337"/>
                        <a:pt x="38537" y="142546"/>
                      </a:cubicBezTo>
                      <a:cubicBezTo>
                        <a:pt x="30621" y="137281"/>
                        <a:pt x="23760" y="131489"/>
                        <a:pt x="17427" y="125172"/>
                      </a:cubicBezTo>
                      <a:close/>
                      <a:moveTo>
                        <a:pt x="215883" y="122420"/>
                      </a:moveTo>
                      <a:cubicBezTo>
                        <a:pt x="200134" y="126653"/>
                        <a:pt x="183335" y="128769"/>
                        <a:pt x="165486" y="128769"/>
                      </a:cubicBezTo>
                      <a:cubicBezTo>
                        <a:pt x="164961" y="128769"/>
                        <a:pt x="164436" y="128769"/>
                        <a:pt x="163386" y="128769"/>
                      </a:cubicBezTo>
                      <a:cubicBezTo>
                        <a:pt x="163386" y="137763"/>
                        <a:pt x="163386" y="146228"/>
                        <a:pt x="162861" y="155221"/>
                      </a:cubicBezTo>
                      <a:cubicBezTo>
                        <a:pt x="162861" y="157866"/>
                        <a:pt x="162861" y="161041"/>
                        <a:pt x="162861" y="163686"/>
                      </a:cubicBezTo>
                      <a:cubicBezTo>
                        <a:pt x="183335" y="163157"/>
                        <a:pt x="202234" y="160512"/>
                        <a:pt x="220083" y="155750"/>
                      </a:cubicBezTo>
                      <a:cubicBezTo>
                        <a:pt x="219558" y="144640"/>
                        <a:pt x="217983" y="133530"/>
                        <a:pt x="215883" y="122420"/>
                      </a:cubicBezTo>
                      <a:close/>
                      <a:moveTo>
                        <a:pt x="106825" y="120220"/>
                      </a:moveTo>
                      <a:cubicBezTo>
                        <a:pt x="104180" y="131876"/>
                        <a:pt x="102593" y="144062"/>
                        <a:pt x="102064" y="156248"/>
                      </a:cubicBezTo>
                      <a:cubicBezTo>
                        <a:pt x="116877" y="159957"/>
                        <a:pt x="132748" y="162606"/>
                        <a:pt x="149678" y="163136"/>
                      </a:cubicBezTo>
                      <a:cubicBezTo>
                        <a:pt x="149678" y="160487"/>
                        <a:pt x="149678" y="157837"/>
                        <a:pt x="149678" y="155188"/>
                      </a:cubicBezTo>
                      <a:cubicBezTo>
                        <a:pt x="150207" y="146181"/>
                        <a:pt x="150207" y="137174"/>
                        <a:pt x="150207" y="128167"/>
                      </a:cubicBezTo>
                      <a:cubicBezTo>
                        <a:pt x="134864" y="127107"/>
                        <a:pt x="120051" y="124458"/>
                        <a:pt x="106825" y="120220"/>
                      </a:cubicBezTo>
                      <a:close/>
                      <a:moveTo>
                        <a:pt x="259617" y="103988"/>
                      </a:moveTo>
                      <a:cubicBezTo>
                        <a:pt x="250157" y="109775"/>
                        <a:pt x="240173" y="115035"/>
                        <a:pt x="228611" y="118717"/>
                      </a:cubicBezTo>
                      <a:cubicBezTo>
                        <a:pt x="230713" y="129238"/>
                        <a:pt x="232290" y="140810"/>
                        <a:pt x="233341" y="151856"/>
                      </a:cubicBezTo>
                      <a:cubicBezTo>
                        <a:pt x="246479" y="147648"/>
                        <a:pt x="258566" y="141862"/>
                        <a:pt x="269602" y="135024"/>
                      </a:cubicBezTo>
                      <a:cubicBezTo>
                        <a:pt x="267500" y="124503"/>
                        <a:pt x="263821" y="113983"/>
                        <a:pt x="259617" y="103988"/>
                      </a:cubicBezTo>
                      <a:close/>
                      <a:moveTo>
                        <a:pt x="65249" y="99862"/>
                      </a:moveTo>
                      <a:cubicBezTo>
                        <a:pt x="59956" y="111422"/>
                        <a:pt x="55192" y="123507"/>
                        <a:pt x="52545" y="136118"/>
                      </a:cubicBezTo>
                      <a:cubicBezTo>
                        <a:pt x="63661" y="142423"/>
                        <a:pt x="75835" y="148203"/>
                        <a:pt x="89068" y="152407"/>
                      </a:cubicBezTo>
                      <a:cubicBezTo>
                        <a:pt x="90126" y="139796"/>
                        <a:pt x="91714" y="127185"/>
                        <a:pt x="94361" y="115625"/>
                      </a:cubicBezTo>
                      <a:cubicBezTo>
                        <a:pt x="83774" y="111422"/>
                        <a:pt x="73718" y="106167"/>
                        <a:pt x="65249" y="99862"/>
                      </a:cubicBezTo>
                      <a:close/>
                      <a:moveTo>
                        <a:pt x="285381" y="83906"/>
                      </a:moveTo>
                      <a:cubicBezTo>
                        <a:pt x="280663" y="88122"/>
                        <a:pt x="275944" y="92338"/>
                        <a:pt x="270702" y="96554"/>
                      </a:cubicBezTo>
                      <a:cubicBezTo>
                        <a:pt x="275420" y="106567"/>
                        <a:pt x="279090" y="116581"/>
                        <a:pt x="281711" y="127648"/>
                      </a:cubicBezTo>
                      <a:cubicBezTo>
                        <a:pt x="288002" y="122905"/>
                        <a:pt x="293769" y="117635"/>
                        <a:pt x="298487" y="112365"/>
                      </a:cubicBezTo>
                      <a:cubicBezTo>
                        <a:pt x="295342" y="102351"/>
                        <a:pt x="290624" y="92865"/>
                        <a:pt x="285381" y="83906"/>
                      </a:cubicBezTo>
                      <a:close/>
                      <a:moveTo>
                        <a:pt x="39411" y="75928"/>
                      </a:moveTo>
                      <a:cubicBezTo>
                        <a:pt x="32019" y="87020"/>
                        <a:pt x="25683" y="98640"/>
                        <a:pt x="21458" y="111317"/>
                      </a:cubicBezTo>
                      <a:cubicBezTo>
                        <a:pt x="26739" y="117656"/>
                        <a:pt x="33603" y="122938"/>
                        <a:pt x="40995" y="128748"/>
                      </a:cubicBezTo>
                      <a:cubicBezTo>
                        <a:pt x="44163" y="115543"/>
                        <a:pt x="48916" y="103394"/>
                        <a:pt x="54196" y="91774"/>
                      </a:cubicBezTo>
                      <a:cubicBezTo>
                        <a:pt x="48916" y="87020"/>
                        <a:pt x="43635" y="81738"/>
                        <a:pt x="39411" y="75928"/>
                      </a:cubicBezTo>
                      <a:close/>
                      <a:moveTo>
                        <a:pt x="201616" y="73452"/>
                      </a:moveTo>
                      <a:cubicBezTo>
                        <a:pt x="190553" y="76083"/>
                        <a:pt x="178437" y="78187"/>
                        <a:pt x="165267" y="78187"/>
                      </a:cubicBezTo>
                      <a:cubicBezTo>
                        <a:pt x="165267" y="78187"/>
                        <a:pt x="165267" y="78187"/>
                        <a:pt x="164740" y="78187"/>
                      </a:cubicBezTo>
                      <a:cubicBezTo>
                        <a:pt x="164740" y="89762"/>
                        <a:pt x="164214" y="102390"/>
                        <a:pt x="163687" y="115543"/>
                      </a:cubicBezTo>
                      <a:cubicBezTo>
                        <a:pt x="164214" y="115543"/>
                        <a:pt x="164740" y="115543"/>
                        <a:pt x="165267" y="115543"/>
                      </a:cubicBezTo>
                      <a:cubicBezTo>
                        <a:pt x="182125" y="115543"/>
                        <a:pt x="198455" y="113438"/>
                        <a:pt x="213205" y="109756"/>
                      </a:cubicBezTo>
                      <a:cubicBezTo>
                        <a:pt x="210044" y="96602"/>
                        <a:pt x="205830" y="84501"/>
                        <a:pt x="201616" y="73452"/>
                      </a:cubicBezTo>
                      <a:close/>
                      <a:moveTo>
                        <a:pt x="121592" y="70701"/>
                      </a:moveTo>
                      <a:cubicBezTo>
                        <a:pt x="116857" y="81774"/>
                        <a:pt x="113174" y="94429"/>
                        <a:pt x="109491" y="107084"/>
                      </a:cubicBezTo>
                      <a:cubicBezTo>
                        <a:pt x="122119" y="111302"/>
                        <a:pt x="136324" y="113938"/>
                        <a:pt x="150530" y="114993"/>
                      </a:cubicBezTo>
                      <a:cubicBezTo>
                        <a:pt x="151056" y="101811"/>
                        <a:pt x="151582" y="88629"/>
                        <a:pt x="151582" y="77028"/>
                      </a:cubicBezTo>
                      <a:cubicBezTo>
                        <a:pt x="141060" y="75974"/>
                        <a:pt x="131063" y="73865"/>
                        <a:pt x="121592" y="70701"/>
                      </a:cubicBezTo>
                      <a:close/>
                      <a:moveTo>
                        <a:pt x="233321" y="59697"/>
                      </a:moveTo>
                      <a:cubicBezTo>
                        <a:pt x="227511" y="63395"/>
                        <a:pt x="221172" y="66565"/>
                        <a:pt x="214306" y="69207"/>
                      </a:cubicBezTo>
                      <a:cubicBezTo>
                        <a:pt x="218531" y="80302"/>
                        <a:pt x="222757" y="92981"/>
                        <a:pt x="225926" y="106189"/>
                      </a:cubicBezTo>
                      <a:cubicBezTo>
                        <a:pt x="235962" y="102491"/>
                        <a:pt x="245469" y="97736"/>
                        <a:pt x="253921" y="92453"/>
                      </a:cubicBezTo>
                      <a:cubicBezTo>
                        <a:pt x="247582" y="80302"/>
                        <a:pt x="240716" y="69207"/>
                        <a:pt x="233321" y="59697"/>
                      </a:cubicBezTo>
                      <a:close/>
                      <a:moveTo>
                        <a:pt x="92595" y="55846"/>
                      </a:moveTo>
                      <a:cubicBezTo>
                        <a:pt x="85214" y="65360"/>
                        <a:pt x="77832" y="76460"/>
                        <a:pt x="70977" y="88088"/>
                      </a:cubicBezTo>
                      <a:cubicBezTo>
                        <a:pt x="78886" y="93902"/>
                        <a:pt x="87323" y="98660"/>
                        <a:pt x="97341" y="102888"/>
                      </a:cubicBezTo>
                      <a:cubicBezTo>
                        <a:pt x="100505" y="89674"/>
                        <a:pt x="104723" y="76988"/>
                        <a:pt x="108941" y="65360"/>
                      </a:cubicBezTo>
                      <a:cubicBezTo>
                        <a:pt x="103141" y="62717"/>
                        <a:pt x="97341" y="59546"/>
                        <a:pt x="92595" y="55846"/>
                      </a:cubicBezTo>
                      <a:close/>
                      <a:moveTo>
                        <a:pt x="251144" y="44842"/>
                      </a:moveTo>
                      <a:cubicBezTo>
                        <a:pt x="248500" y="47484"/>
                        <a:pt x="246385" y="49598"/>
                        <a:pt x="243742" y="51712"/>
                      </a:cubicBezTo>
                      <a:cubicBezTo>
                        <a:pt x="251144" y="61225"/>
                        <a:pt x="258546" y="72323"/>
                        <a:pt x="264890" y="85007"/>
                      </a:cubicBezTo>
                      <a:cubicBezTo>
                        <a:pt x="269649" y="80779"/>
                        <a:pt x="273878" y="77079"/>
                        <a:pt x="277579" y="72851"/>
                      </a:cubicBezTo>
                      <a:cubicBezTo>
                        <a:pt x="270177" y="62282"/>
                        <a:pt x="261189" y="52769"/>
                        <a:pt x="251144" y="44842"/>
                      </a:cubicBezTo>
                      <a:close/>
                      <a:moveTo>
                        <a:pt x="75908" y="39614"/>
                      </a:moveTo>
                      <a:cubicBezTo>
                        <a:pt x="65327" y="47013"/>
                        <a:pt x="55804" y="55469"/>
                        <a:pt x="47868" y="65510"/>
                      </a:cubicBezTo>
                      <a:cubicBezTo>
                        <a:pt x="51043" y="70795"/>
                        <a:pt x="55804" y="75551"/>
                        <a:pt x="60565" y="79779"/>
                      </a:cubicBezTo>
                      <a:cubicBezTo>
                        <a:pt x="67443" y="67624"/>
                        <a:pt x="74850" y="56526"/>
                        <a:pt x="82256" y="47013"/>
                      </a:cubicBezTo>
                      <a:cubicBezTo>
                        <a:pt x="80140" y="44899"/>
                        <a:pt x="78024" y="42257"/>
                        <a:pt x="75908" y="39614"/>
                      </a:cubicBezTo>
                      <a:close/>
                      <a:moveTo>
                        <a:pt x="224484" y="28060"/>
                      </a:moveTo>
                      <a:cubicBezTo>
                        <a:pt x="228150" y="32293"/>
                        <a:pt x="231815" y="36525"/>
                        <a:pt x="236003" y="41815"/>
                      </a:cubicBezTo>
                      <a:cubicBezTo>
                        <a:pt x="237574" y="40228"/>
                        <a:pt x="239145" y="38641"/>
                        <a:pt x="240716" y="37583"/>
                      </a:cubicBezTo>
                      <a:cubicBezTo>
                        <a:pt x="235480" y="33880"/>
                        <a:pt x="230244" y="31234"/>
                        <a:pt x="224484" y="28060"/>
                      </a:cubicBezTo>
                      <a:close/>
                      <a:moveTo>
                        <a:pt x="101238" y="25309"/>
                      </a:moveTo>
                      <a:cubicBezTo>
                        <a:pt x="95940" y="27410"/>
                        <a:pt x="91172" y="30036"/>
                        <a:pt x="86933" y="32662"/>
                      </a:cubicBezTo>
                      <a:cubicBezTo>
                        <a:pt x="87993" y="34237"/>
                        <a:pt x="89582" y="35288"/>
                        <a:pt x="90642" y="36863"/>
                      </a:cubicBezTo>
                      <a:cubicBezTo>
                        <a:pt x="94350" y="32662"/>
                        <a:pt x="97529" y="28985"/>
                        <a:pt x="101238" y="25309"/>
                      </a:cubicBezTo>
                      <a:close/>
                      <a:moveTo>
                        <a:pt x="189546" y="16506"/>
                      </a:moveTo>
                      <a:cubicBezTo>
                        <a:pt x="195332" y="25959"/>
                        <a:pt x="202695" y="39614"/>
                        <a:pt x="209532" y="56946"/>
                      </a:cubicBezTo>
                      <a:cubicBezTo>
                        <a:pt x="215317" y="54845"/>
                        <a:pt x="220576" y="52219"/>
                        <a:pt x="225310" y="49068"/>
                      </a:cubicBezTo>
                      <a:cubicBezTo>
                        <a:pt x="210584" y="31736"/>
                        <a:pt x="197961" y="20707"/>
                        <a:pt x="194280" y="17556"/>
                      </a:cubicBezTo>
                      <a:cubicBezTo>
                        <a:pt x="192702" y="17031"/>
                        <a:pt x="191124" y="16506"/>
                        <a:pt x="189546" y="16506"/>
                      </a:cubicBezTo>
                      <a:close/>
                      <a:moveTo>
                        <a:pt x="132600" y="15955"/>
                      </a:moveTo>
                      <a:cubicBezTo>
                        <a:pt x="131554" y="15955"/>
                        <a:pt x="130507" y="15955"/>
                        <a:pt x="128938" y="16483"/>
                      </a:cubicBezTo>
                      <a:cubicBezTo>
                        <a:pt x="128938" y="17010"/>
                        <a:pt x="115859" y="27556"/>
                        <a:pt x="100688" y="46010"/>
                      </a:cubicBezTo>
                      <a:cubicBezTo>
                        <a:pt x="104873" y="48647"/>
                        <a:pt x="109058" y="51283"/>
                        <a:pt x="114290" y="53920"/>
                      </a:cubicBezTo>
                      <a:cubicBezTo>
                        <a:pt x="121091" y="37574"/>
                        <a:pt x="127892" y="24919"/>
                        <a:pt x="132600" y="15955"/>
                      </a:cubicBezTo>
                      <a:close/>
                      <a:moveTo>
                        <a:pt x="167974" y="13204"/>
                      </a:moveTo>
                      <a:cubicBezTo>
                        <a:pt x="167447" y="22704"/>
                        <a:pt x="166392" y="40647"/>
                        <a:pt x="165337" y="64924"/>
                      </a:cubicBezTo>
                      <a:cubicBezTo>
                        <a:pt x="176410" y="64924"/>
                        <a:pt x="186956" y="63341"/>
                        <a:pt x="196974" y="60702"/>
                      </a:cubicBezTo>
                      <a:cubicBezTo>
                        <a:pt x="187483" y="38009"/>
                        <a:pt x="177465" y="21121"/>
                        <a:pt x="173247" y="13732"/>
                      </a:cubicBezTo>
                      <a:cubicBezTo>
                        <a:pt x="171665" y="13732"/>
                        <a:pt x="169556" y="13732"/>
                        <a:pt x="167974" y="13204"/>
                      </a:cubicBezTo>
                      <a:close/>
                      <a:moveTo>
                        <a:pt x="149585" y="13204"/>
                      </a:moveTo>
                      <a:cubicBezTo>
                        <a:pt x="145346" y="20059"/>
                        <a:pt x="135810" y="36405"/>
                        <a:pt x="126273" y="58551"/>
                      </a:cubicBezTo>
                      <a:cubicBezTo>
                        <a:pt x="134220" y="61187"/>
                        <a:pt x="143227" y="63296"/>
                        <a:pt x="152764" y="63823"/>
                      </a:cubicBezTo>
                      <a:cubicBezTo>
                        <a:pt x="153294" y="40623"/>
                        <a:pt x="154354" y="22696"/>
                        <a:pt x="154883" y="13204"/>
                      </a:cubicBezTo>
                      <a:cubicBezTo>
                        <a:pt x="153294" y="13204"/>
                        <a:pt x="151175" y="13204"/>
                        <a:pt x="149585" y="13204"/>
                      </a:cubicBezTo>
                      <a:close/>
                      <a:moveTo>
                        <a:pt x="160099" y="0"/>
                      </a:moveTo>
                      <a:cubicBezTo>
                        <a:pt x="192750" y="0"/>
                        <a:pt x="222769" y="10024"/>
                        <a:pt x="248047" y="26906"/>
                      </a:cubicBezTo>
                      <a:cubicBezTo>
                        <a:pt x="251734" y="29017"/>
                        <a:pt x="255420" y="31655"/>
                        <a:pt x="259107" y="34293"/>
                      </a:cubicBezTo>
                      <a:cubicBezTo>
                        <a:pt x="269113" y="42206"/>
                        <a:pt x="278066" y="51703"/>
                        <a:pt x="285965" y="61727"/>
                      </a:cubicBezTo>
                      <a:cubicBezTo>
                        <a:pt x="288598" y="65420"/>
                        <a:pt x="291232" y="69113"/>
                        <a:pt x="293865" y="72806"/>
                      </a:cubicBezTo>
                      <a:cubicBezTo>
                        <a:pt x="299658" y="81775"/>
                        <a:pt x="304398" y="90744"/>
                        <a:pt x="308084" y="100768"/>
                      </a:cubicBezTo>
                      <a:cubicBezTo>
                        <a:pt x="310191" y="105516"/>
                        <a:pt x="311771" y="110264"/>
                        <a:pt x="313350" y="115013"/>
                      </a:cubicBezTo>
                      <a:cubicBezTo>
                        <a:pt x="317564" y="128730"/>
                        <a:pt x="319670" y="142975"/>
                        <a:pt x="319670" y="157747"/>
                      </a:cubicBezTo>
                      <a:cubicBezTo>
                        <a:pt x="319670" y="158275"/>
                        <a:pt x="319670" y="159330"/>
                        <a:pt x="319670" y="160385"/>
                      </a:cubicBezTo>
                      <a:cubicBezTo>
                        <a:pt x="319670" y="165661"/>
                        <a:pt x="319670" y="170937"/>
                        <a:pt x="319144" y="176212"/>
                      </a:cubicBezTo>
                      <a:cubicBezTo>
                        <a:pt x="317037" y="196260"/>
                        <a:pt x="311244" y="215253"/>
                        <a:pt x="302291" y="232664"/>
                      </a:cubicBezTo>
                      <a:cubicBezTo>
                        <a:pt x="298605" y="240577"/>
                        <a:pt x="293865" y="247964"/>
                        <a:pt x="288598" y="254822"/>
                      </a:cubicBezTo>
                      <a:cubicBezTo>
                        <a:pt x="259633" y="294391"/>
                        <a:pt x="212763" y="320242"/>
                        <a:pt x="160099" y="320242"/>
                      </a:cubicBezTo>
                      <a:cubicBezTo>
                        <a:pt x="159572" y="320242"/>
                        <a:pt x="159572" y="320242"/>
                        <a:pt x="159572" y="320242"/>
                      </a:cubicBezTo>
                      <a:cubicBezTo>
                        <a:pt x="159572" y="320242"/>
                        <a:pt x="159572" y="320242"/>
                        <a:pt x="155359" y="320770"/>
                      </a:cubicBezTo>
                      <a:cubicBezTo>
                        <a:pt x="155359" y="320770"/>
                        <a:pt x="155359" y="320242"/>
                        <a:pt x="155359" y="320242"/>
                      </a:cubicBezTo>
                      <a:cubicBezTo>
                        <a:pt x="101642" y="318660"/>
                        <a:pt x="54244" y="290698"/>
                        <a:pt x="26332" y="248491"/>
                      </a:cubicBezTo>
                      <a:cubicBezTo>
                        <a:pt x="21593" y="241105"/>
                        <a:pt x="17379" y="233191"/>
                        <a:pt x="13693" y="225278"/>
                      </a:cubicBezTo>
                      <a:cubicBezTo>
                        <a:pt x="6847" y="209450"/>
                        <a:pt x="2107" y="192567"/>
                        <a:pt x="527" y="174630"/>
                      </a:cubicBezTo>
                      <a:cubicBezTo>
                        <a:pt x="0" y="169881"/>
                        <a:pt x="0" y="165133"/>
                        <a:pt x="0" y="160385"/>
                      </a:cubicBezTo>
                      <a:cubicBezTo>
                        <a:pt x="0" y="158802"/>
                        <a:pt x="0" y="157219"/>
                        <a:pt x="0" y="156164"/>
                      </a:cubicBezTo>
                      <a:cubicBezTo>
                        <a:pt x="527" y="141392"/>
                        <a:pt x="2634" y="127147"/>
                        <a:pt x="6847" y="113958"/>
                      </a:cubicBezTo>
                      <a:cubicBezTo>
                        <a:pt x="8427" y="108682"/>
                        <a:pt x="10006" y="103934"/>
                        <a:pt x="12113" y="99185"/>
                      </a:cubicBezTo>
                      <a:cubicBezTo>
                        <a:pt x="17379" y="86523"/>
                        <a:pt x="23699" y="74916"/>
                        <a:pt x="32125" y="64365"/>
                      </a:cubicBezTo>
                      <a:cubicBezTo>
                        <a:pt x="34758" y="60144"/>
                        <a:pt x="37918" y="56451"/>
                        <a:pt x="41078" y="52758"/>
                      </a:cubicBezTo>
                      <a:cubicBezTo>
                        <a:pt x="49505" y="43789"/>
                        <a:pt x="58984" y="35348"/>
                        <a:pt x="68990" y="28489"/>
                      </a:cubicBezTo>
                      <a:cubicBezTo>
                        <a:pt x="72677" y="25851"/>
                        <a:pt x="76363" y="23213"/>
                        <a:pt x="80576" y="21103"/>
                      </a:cubicBezTo>
                      <a:cubicBezTo>
                        <a:pt x="103748" y="7913"/>
                        <a:pt x="131133" y="0"/>
                        <a:pt x="160099" y="0"/>
                      </a:cubicBezTo>
                      <a:close/>
                    </a:path>
                  </a:pathLst>
                </a:custGeom>
                <a:grpFill/>
                <a:ln>
                  <a:noFill/>
                </a:ln>
                <a:extLst/>
              </p:spPr>
              <p:txBody>
                <a:bodyPr vert="horz" wrap="square" lIns="91427" tIns="45713" rIns="91427" bIns="45713" numCol="1" anchor="t" anchorCtr="0" compatLnSpc="1">
                  <a:prstTxWarp prst="textNoShape">
                    <a:avLst/>
                  </a:prstTxWarp>
                  <a:noAutofit/>
                </a:bodyPr>
                <a:lstStyle/>
                <a:p>
                  <a:pPr defTabSz="914225">
                    <a:defRPr/>
                  </a:pPr>
                  <a:endParaRPr lang="en-US" kern="0" dirty="0">
                    <a:solidFill>
                      <a:srgbClr val="FFFFFF"/>
                    </a:solidFill>
                    <a:latin typeface="Segoe UI"/>
                  </a:endParaRPr>
                </a:p>
              </p:txBody>
            </p:sp>
            <p:sp>
              <p:nvSpPr>
                <p:cNvPr id="24" name="Freeform 23"/>
                <p:cNvSpPr>
                  <a:spLocks/>
                </p:cNvSpPr>
                <p:nvPr/>
              </p:nvSpPr>
              <p:spPr bwMode="auto">
                <a:xfrm>
                  <a:off x="5007615" y="2323753"/>
                  <a:ext cx="649029" cy="502032"/>
                </a:xfrm>
                <a:custGeom>
                  <a:avLst/>
                  <a:gdLst>
                    <a:gd name="connsiteX0" fmla="*/ 33287 w 649029"/>
                    <a:gd name="connsiteY0" fmla="*/ 88963 h 502032"/>
                    <a:gd name="connsiteX1" fmla="*/ 21098 w 649029"/>
                    <a:gd name="connsiteY1" fmla="*/ 102250 h 502032"/>
                    <a:gd name="connsiteX2" fmla="*/ 21098 w 649029"/>
                    <a:gd name="connsiteY2" fmla="*/ 467370 h 502032"/>
                    <a:gd name="connsiteX3" fmla="*/ 33287 w 649029"/>
                    <a:gd name="connsiteY3" fmla="*/ 480657 h 502032"/>
                    <a:gd name="connsiteX4" fmla="*/ 615742 w 649029"/>
                    <a:gd name="connsiteY4" fmla="*/ 480657 h 502032"/>
                    <a:gd name="connsiteX5" fmla="*/ 627932 w 649029"/>
                    <a:gd name="connsiteY5" fmla="*/ 467370 h 502032"/>
                    <a:gd name="connsiteX6" fmla="*/ 627932 w 649029"/>
                    <a:gd name="connsiteY6" fmla="*/ 102250 h 502032"/>
                    <a:gd name="connsiteX7" fmla="*/ 615742 w 649029"/>
                    <a:gd name="connsiteY7" fmla="*/ 88963 h 502032"/>
                    <a:gd name="connsiteX8" fmla="*/ 71744 w 649029"/>
                    <a:gd name="connsiteY8" fmla="*/ 21375 h 502032"/>
                    <a:gd name="connsiteX9" fmla="*/ 61676 w 649029"/>
                    <a:gd name="connsiteY9" fmla="*/ 31460 h 502032"/>
                    <a:gd name="connsiteX10" fmla="*/ 61676 w 649029"/>
                    <a:gd name="connsiteY10" fmla="*/ 67588 h 502032"/>
                    <a:gd name="connsiteX11" fmla="*/ 281061 w 649029"/>
                    <a:gd name="connsiteY11" fmla="*/ 67588 h 502032"/>
                    <a:gd name="connsiteX12" fmla="*/ 281061 w 649029"/>
                    <a:gd name="connsiteY12" fmla="*/ 31460 h 502032"/>
                    <a:gd name="connsiteX13" fmla="*/ 270993 w 649029"/>
                    <a:gd name="connsiteY13" fmla="*/ 21375 h 502032"/>
                    <a:gd name="connsiteX14" fmla="*/ 71826 w 649029"/>
                    <a:gd name="connsiteY14" fmla="*/ 0 h 502032"/>
                    <a:gd name="connsiteX15" fmla="*/ 271010 w 649029"/>
                    <a:gd name="connsiteY15" fmla="*/ 0 h 502032"/>
                    <a:gd name="connsiteX16" fmla="*/ 302265 w 649029"/>
                    <a:gd name="connsiteY16" fmla="*/ 31399 h 502032"/>
                    <a:gd name="connsiteX17" fmla="*/ 302265 w 649029"/>
                    <a:gd name="connsiteY17" fmla="*/ 59604 h 502032"/>
                    <a:gd name="connsiteX18" fmla="*/ 614285 w 649029"/>
                    <a:gd name="connsiteY18" fmla="*/ 59604 h 502032"/>
                    <a:gd name="connsiteX19" fmla="*/ 625873 w 649029"/>
                    <a:gd name="connsiteY19" fmla="*/ 64461 h 502032"/>
                    <a:gd name="connsiteX20" fmla="*/ 629657 w 649029"/>
                    <a:gd name="connsiteY20" fmla="*/ 73573 h 502032"/>
                    <a:gd name="connsiteX21" fmla="*/ 639294 w 649029"/>
                    <a:gd name="connsiteY21" fmla="*/ 77692 h 502032"/>
                    <a:gd name="connsiteX22" fmla="*/ 649029 w 649029"/>
                    <a:gd name="connsiteY22" fmla="*/ 102152 h 502032"/>
                    <a:gd name="connsiteX23" fmla="*/ 649029 w 649029"/>
                    <a:gd name="connsiteY23" fmla="*/ 467468 h 502032"/>
                    <a:gd name="connsiteX24" fmla="*/ 615651 w 649029"/>
                    <a:gd name="connsiteY24" fmla="*/ 502032 h 502032"/>
                    <a:gd name="connsiteX25" fmla="*/ 33379 w 649029"/>
                    <a:gd name="connsiteY25" fmla="*/ 502032 h 502032"/>
                    <a:gd name="connsiteX26" fmla="*/ 0 w 649029"/>
                    <a:gd name="connsiteY26" fmla="*/ 467468 h 502032"/>
                    <a:gd name="connsiteX27" fmla="*/ 0 w 649029"/>
                    <a:gd name="connsiteY27" fmla="*/ 102152 h 502032"/>
                    <a:gd name="connsiteX28" fmla="*/ 9735 w 649029"/>
                    <a:gd name="connsiteY28" fmla="*/ 77692 h 502032"/>
                    <a:gd name="connsiteX29" fmla="*/ 19371 w 649029"/>
                    <a:gd name="connsiteY29" fmla="*/ 73574 h 502032"/>
                    <a:gd name="connsiteX30" fmla="*/ 23155 w 649029"/>
                    <a:gd name="connsiteY30" fmla="*/ 64461 h 502032"/>
                    <a:gd name="connsiteX31" fmla="*/ 34744 w 649029"/>
                    <a:gd name="connsiteY31" fmla="*/ 59604 h 502032"/>
                    <a:gd name="connsiteX32" fmla="*/ 40571 w 649029"/>
                    <a:gd name="connsiteY32" fmla="*/ 59604 h 502032"/>
                    <a:gd name="connsiteX33" fmla="*/ 40571 w 649029"/>
                    <a:gd name="connsiteY33" fmla="*/ 31399 h 502032"/>
                    <a:gd name="connsiteX34" fmla="*/ 71826 w 649029"/>
                    <a:gd name="connsiteY34" fmla="*/ 0 h 502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49029" h="502032">
                      <a:moveTo>
                        <a:pt x="33287" y="88963"/>
                      </a:moveTo>
                      <a:cubicBezTo>
                        <a:pt x="26398" y="88963"/>
                        <a:pt x="21098" y="94809"/>
                        <a:pt x="21098" y="102250"/>
                      </a:cubicBezTo>
                      <a:lnTo>
                        <a:pt x="21098" y="467370"/>
                      </a:lnTo>
                      <a:cubicBezTo>
                        <a:pt x="21098" y="474811"/>
                        <a:pt x="26398" y="480657"/>
                        <a:pt x="33287" y="480657"/>
                      </a:cubicBezTo>
                      <a:lnTo>
                        <a:pt x="615742" y="480657"/>
                      </a:lnTo>
                      <a:cubicBezTo>
                        <a:pt x="622632" y="480657"/>
                        <a:pt x="627932" y="474811"/>
                        <a:pt x="627932" y="467370"/>
                      </a:cubicBezTo>
                      <a:lnTo>
                        <a:pt x="627932" y="102250"/>
                      </a:lnTo>
                      <a:cubicBezTo>
                        <a:pt x="627932" y="94809"/>
                        <a:pt x="622632" y="88963"/>
                        <a:pt x="615742" y="88963"/>
                      </a:cubicBezTo>
                      <a:close/>
                      <a:moveTo>
                        <a:pt x="71744" y="21375"/>
                      </a:moveTo>
                      <a:cubicBezTo>
                        <a:pt x="66445" y="21375"/>
                        <a:pt x="61676" y="26152"/>
                        <a:pt x="61676" y="31460"/>
                      </a:cubicBezTo>
                      <a:lnTo>
                        <a:pt x="61676" y="67588"/>
                      </a:lnTo>
                      <a:lnTo>
                        <a:pt x="281061" y="67588"/>
                      </a:lnTo>
                      <a:lnTo>
                        <a:pt x="281061" y="31460"/>
                      </a:lnTo>
                      <a:cubicBezTo>
                        <a:pt x="281061" y="26152"/>
                        <a:pt x="276292" y="21375"/>
                        <a:pt x="270993" y="21375"/>
                      </a:cubicBezTo>
                      <a:close/>
                      <a:moveTo>
                        <a:pt x="71826" y="0"/>
                      </a:moveTo>
                      <a:lnTo>
                        <a:pt x="271010" y="0"/>
                      </a:lnTo>
                      <a:cubicBezTo>
                        <a:pt x="287962" y="0"/>
                        <a:pt x="302265" y="14369"/>
                        <a:pt x="302265" y="31399"/>
                      </a:cubicBezTo>
                      <a:lnTo>
                        <a:pt x="302265" y="59604"/>
                      </a:lnTo>
                      <a:lnTo>
                        <a:pt x="614285" y="59604"/>
                      </a:lnTo>
                      <a:cubicBezTo>
                        <a:pt x="618788" y="59604"/>
                        <a:pt x="622894" y="61467"/>
                        <a:pt x="625873" y="64461"/>
                      </a:cubicBezTo>
                      <a:lnTo>
                        <a:pt x="629657" y="73573"/>
                      </a:lnTo>
                      <a:lnTo>
                        <a:pt x="639294" y="77692"/>
                      </a:lnTo>
                      <a:cubicBezTo>
                        <a:pt x="645320" y="83940"/>
                        <a:pt x="649029" y="92581"/>
                        <a:pt x="649029" y="102152"/>
                      </a:cubicBezTo>
                      <a:lnTo>
                        <a:pt x="649029" y="467468"/>
                      </a:lnTo>
                      <a:cubicBezTo>
                        <a:pt x="649029" y="486611"/>
                        <a:pt x="634194" y="502032"/>
                        <a:pt x="615651" y="502032"/>
                      </a:cubicBezTo>
                      <a:lnTo>
                        <a:pt x="33379" y="502032"/>
                      </a:lnTo>
                      <a:cubicBezTo>
                        <a:pt x="14835" y="502032"/>
                        <a:pt x="0" y="486611"/>
                        <a:pt x="0" y="467468"/>
                      </a:cubicBezTo>
                      <a:lnTo>
                        <a:pt x="0" y="102152"/>
                      </a:lnTo>
                      <a:cubicBezTo>
                        <a:pt x="0" y="92581"/>
                        <a:pt x="3709" y="83940"/>
                        <a:pt x="9735" y="77692"/>
                      </a:cubicBezTo>
                      <a:lnTo>
                        <a:pt x="19371" y="73574"/>
                      </a:lnTo>
                      <a:lnTo>
                        <a:pt x="23155" y="64461"/>
                      </a:lnTo>
                      <a:cubicBezTo>
                        <a:pt x="26135" y="61467"/>
                        <a:pt x="30241" y="59604"/>
                        <a:pt x="34744" y="59604"/>
                      </a:cubicBezTo>
                      <a:lnTo>
                        <a:pt x="40571" y="59604"/>
                      </a:lnTo>
                      <a:lnTo>
                        <a:pt x="40571" y="31399"/>
                      </a:lnTo>
                      <a:cubicBezTo>
                        <a:pt x="40571" y="14369"/>
                        <a:pt x="54344" y="0"/>
                        <a:pt x="718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noAutofit/>
                </a:bodyPr>
                <a:lstStyle/>
                <a:p>
                  <a:pPr defTabSz="914225">
                    <a:defRPr/>
                  </a:pPr>
                  <a:endParaRPr lang="en-US" kern="0" dirty="0">
                    <a:solidFill>
                      <a:srgbClr val="FFFFFF"/>
                    </a:solidFill>
                    <a:latin typeface="Segoe UI"/>
                  </a:endParaRPr>
                </a:p>
              </p:txBody>
            </p:sp>
          </p:grpSp>
          <p:grpSp>
            <p:nvGrpSpPr>
              <p:cNvPr id="14" name="Group 13"/>
              <p:cNvGrpSpPr/>
              <p:nvPr/>
            </p:nvGrpSpPr>
            <p:grpSpPr>
              <a:xfrm>
                <a:off x="10486805" y="2434267"/>
                <a:ext cx="1302888" cy="1542780"/>
                <a:chOff x="10486805" y="2923046"/>
                <a:chExt cx="1302888" cy="1542780"/>
              </a:xfrm>
            </p:grpSpPr>
            <p:sp>
              <p:nvSpPr>
                <p:cNvPr id="15" name="Rectangle 14"/>
                <p:cNvSpPr/>
                <p:nvPr/>
              </p:nvSpPr>
              <p:spPr bwMode="auto">
                <a:xfrm>
                  <a:off x="10802824" y="2923046"/>
                  <a:ext cx="986869" cy="1542780"/>
                </a:xfrm>
                <a:prstGeom prst="rect">
                  <a:avLst/>
                </a:prstGeom>
                <a:noFill/>
                <a:ln w="9525" cap="flat" cmpd="sng" algn="ctr">
                  <a:solidFill>
                    <a:srgbClr val="FFFFFF">
                      <a:lumMod val="65000"/>
                    </a:srgbClr>
                  </a:solidFill>
                  <a:prstDash val="dash"/>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 name="TextBox 15"/>
                <p:cNvSpPr txBox="1"/>
                <p:nvPr/>
              </p:nvSpPr>
              <p:spPr>
                <a:xfrm>
                  <a:off x="11212738" y="3022354"/>
                  <a:ext cx="473389" cy="161606"/>
                </a:xfrm>
                <a:prstGeom prst="rect">
                  <a:avLst/>
                </a:prstGeom>
                <a:noFill/>
              </p:spPr>
              <p:txBody>
                <a:bodyPr wrap="square" lIns="0" tIns="0" rIns="0" bIns="0" rtlCol="0">
                  <a:spAutoFit/>
                </a:bodyPr>
                <a:lstStyle/>
                <a:p>
                  <a:pPr defTabSz="932384">
                    <a:spcBef>
                      <a:spcPct val="0"/>
                    </a:spcBef>
                    <a:spcAft>
                      <a:spcPts val="600"/>
                    </a:spcAft>
                    <a:defRPr/>
                  </a:pPr>
                  <a:r>
                    <a:rPr lang="en-US" sz="1050" kern="0" dirty="0">
                      <a:solidFill>
                        <a:srgbClr val="505050"/>
                      </a:solidFill>
                      <a:latin typeface="Segoe UI"/>
                      <a:cs typeface="Segoe UI Semilight" panose="020B0402040204020203" pitchFamily="34" charset="0"/>
                    </a:rPr>
                    <a:t>Web</a:t>
                  </a:r>
                </a:p>
              </p:txBody>
            </p:sp>
            <p:sp>
              <p:nvSpPr>
                <p:cNvPr id="17" name="TextBox 16"/>
                <p:cNvSpPr txBox="1"/>
                <p:nvPr/>
              </p:nvSpPr>
              <p:spPr>
                <a:xfrm>
                  <a:off x="11212738" y="3571986"/>
                  <a:ext cx="473389" cy="161606"/>
                </a:xfrm>
                <a:prstGeom prst="rect">
                  <a:avLst/>
                </a:prstGeom>
                <a:noFill/>
              </p:spPr>
              <p:txBody>
                <a:bodyPr wrap="square" lIns="0" tIns="0" rIns="0" bIns="0" rtlCol="0">
                  <a:spAutoFit/>
                </a:bodyPr>
                <a:lstStyle/>
                <a:p>
                  <a:pPr defTabSz="932384">
                    <a:spcBef>
                      <a:spcPct val="0"/>
                    </a:spcBef>
                    <a:spcAft>
                      <a:spcPts val="600"/>
                    </a:spcAft>
                    <a:defRPr/>
                  </a:pPr>
                  <a:r>
                    <a:rPr lang="en-US" sz="1050" kern="0" dirty="0">
                      <a:solidFill>
                        <a:srgbClr val="505050"/>
                      </a:solidFill>
                      <a:latin typeface="Segoe UI"/>
                      <a:cs typeface="Segoe UI Semilight" panose="020B0402040204020203" pitchFamily="34" charset="0"/>
                    </a:rPr>
                    <a:t>Mobile</a:t>
                  </a:r>
                </a:p>
              </p:txBody>
            </p:sp>
            <p:sp>
              <p:nvSpPr>
                <p:cNvPr id="18" name="TextBox 17"/>
                <p:cNvSpPr txBox="1"/>
                <p:nvPr/>
              </p:nvSpPr>
              <p:spPr>
                <a:xfrm>
                  <a:off x="11212738" y="4160203"/>
                  <a:ext cx="473389" cy="161606"/>
                </a:xfrm>
                <a:prstGeom prst="rect">
                  <a:avLst/>
                </a:prstGeom>
                <a:noFill/>
              </p:spPr>
              <p:txBody>
                <a:bodyPr wrap="square" lIns="0" tIns="0" rIns="0" bIns="0" rtlCol="0">
                  <a:spAutoFit/>
                </a:bodyPr>
                <a:lstStyle/>
                <a:p>
                  <a:pPr defTabSz="932384">
                    <a:spcBef>
                      <a:spcPct val="0"/>
                    </a:spcBef>
                    <a:spcAft>
                      <a:spcPts val="600"/>
                    </a:spcAft>
                    <a:defRPr/>
                  </a:pPr>
                  <a:r>
                    <a:rPr lang="en-US" sz="1050" kern="0" dirty="0">
                      <a:solidFill>
                        <a:srgbClr val="505050"/>
                      </a:solidFill>
                      <a:latin typeface="Segoe UI"/>
                      <a:cs typeface="Segoe UI Semilight" panose="020B0402040204020203" pitchFamily="34" charset="0"/>
                    </a:rPr>
                    <a:t>Bots</a:t>
                  </a:r>
                </a:p>
              </p:txBody>
            </p:sp>
            <p:sp>
              <p:nvSpPr>
                <p:cNvPr id="19" name="Freeform 18"/>
                <p:cNvSpPr>
                  <a:spLocks noChangeArrowheads="1"/>
                </p:cNvSpPr>
                <p:nvPr/>
              </p:nvSpPr>
              <p:spPr bwMode="auto">
                <a:xfrm>
                  <a:off x="10907711" y="3020740"/>
                  <a:ext cx="187689" cy="187689"/>
                </a:xfrm>
                <a:custGeom>
                  <a:avLst/>
                  <a:gdLst>
                    <a:gd name="connsiteX0" fmla="*/ 2240514 w 3214688"/>
                    <a:gd name="connsiteY0" fmla="*/ 2452692 h 3214688"/>
                    <a:gd name="connsiteX1" fmla="*/ 2164154 w 3214688"/>
                    <a:gd name="connsiteY1" fmla="*/ 2577661 h 3214688"/>
                    <a:gd name="connsiteX2" fmla="*/ 2066550 w 3214688"/>
                    <a:gd name="connsiteY2" fmla="*/ 2716118 h 3214688"/>
                    <a:gd name="connsiteX3" fmla="*/ 1754615 w 3214688"/>
                    <a:gd name="connsiteY3" fmla="*/ 3074168 h 3214688"/>
                    <a:gd name="connsiteX4" fmla="*/ 1740871 w 3214688"/>
                    <a:gd name="connsiteY4" fmla="*/ 3087292 h 3214688"/>
                    <a:gd name="connsiteX5" fmla="*/ 1759187 w 3214688"/>
                    <a:gd name="connsiteY5" fmla="*/ 3086367 h 3214688"/>
                    <a:gd name="connsiteX6" fmla="*/ 2552008 w 3214688"/>
                    <a:gd name="connsiteY6" fmla="*/ 2754731 h 3214688"/>
                    <a:gd name="connsiteX7" fmla="*/ 2647815 w 3214688"/>
                    <a:gd name="connsiteY7" fmla="*/ 2667609 h 3214688"/>
                    <a:gd name="connsiteX8" fmla="*/ 2533366 w 3214688"/>
                    <a:gd name="connsiteY8" fmla="*/ 2587696 h 3214688"/>
                    <a:gd name="connsiteX9" fmla="*/ 2342448 w 3214688"/>
                    <a:gd name="connsiteY9" fmla="*/ 2491033 h 3214688"/>
                    <a:gd name="connsiteX10" fmla="*/ 974642 w 3214688"/>
                    <a:gd name="connsiteY10" fmla="*/ 2452516 h 3214688"/>
                    <a:gd name="connsiteX11" fmla="*/ 872242 w 3214688"/>
                    <a:gd name="connsiteY11" fmla="*/ 2491033 h 3214688"/>
                    <a:gd name="connsiteX12" fmla="*/ 681324 w 3214688"/>
                    <a:gd name="connsiteY12" fmla="*/ 2587696 h 3214688"/>
                    <a:gd name="connsiteX13" fmla="*/ 566873 w 3214688"/>
                    <a:gd name="connsiteY13" fmla="*/ 2667611 h 3214688"/>
                    <a:gd name="connsiteX14" fmla="*/ 662678 w 3214688"/>
                    <a:gd name="connsiteY14" fmla="*/ 2754731 h 3214688"/>
                    <a:gd name="connsiteX15" fmla="*/ 1455500 w 3214688"/>
                    <a:gd name="connsiteY15" fmla="*/ 3086367 h 3214688"/>
                    <a:gd name="connsiteX16" fmla="*/ 1473960 w 3214688"/>
                    <a:gd name="connsiteY16" fmla="*/ 3087299 h 3214688"/>
                    <a:gd name="connsiteX17" fmla="*/ 1460208 w 3214688"/>
                    <a:gd name="connsiteY17" fmla="*/ 3074168 h 3214688"/>
                    <a:gd name="connsiteX18" fmla="*/ 1148273 w 3214688"/>
                    <a:gd name="connsiteY18" fmla="*/ 2716118 h 3214688"/>
                    <a:gd name="connsiteX19" fmla="*/ 1050800 w 3214688"/>
                    <a:gd name="connsiteY19" fmla="*/ 2577661 h 3214688"/>
                    <a:gd name="connsiteX20" fmla="*/ 1668463 w 3214688"/>
                    <a:gd name="connsiteY20" fmla="*/ 2349078 h 3214688"/>
                    <a:gd name="connsiteX21" fmla="*/ 1668463 w 3214688"/>
                    <a:gd name="connsiteY21" fmla="*/ 2987045 h 3214688"/>
                    <a:gd name="connsiteX22" fmla="*/ 1686282 w 3214688"/>
                    <a:gd name="connsiteY22" fmla="*/ 2969732 h 3214688"/>
                    <a:gd name="connsiteX23" fmla="*/ 2047573 w 3214688"/>
                    <a:gd name="connsiteY23" fmla="*/ 2532767 h 3214688"/>
                    <a:gd name="connsiteX24" fmla="*/ 2118389 w 3214688"/>
                    <a:gd name="connsiteY24" fmla="*/ 2414793 h 3214688"/>
                    <a:gd name="connsiteX25" fmla="*/ 2062644 w 3214688"/>
                    <a:gd name="connsiteY25" fmla="*/ 2398957 h 3214688"/>
                    <a:gd name="connsiteX26" fmla="*/ 1838838 w 3214688"/>
                    <a:gd name="connsiteY26" fmla="*/ 2359062 h 3214688"/>
                    <a:gd name="connsiteX27" fmla="*/ 1546226 w 3214688"/>
                    <a:gd name="connsiteY27" fmla="*/ 2349078 h 3214688"/>
                    <a:gd name="connsiteX28" fmla="*/ 1375851 w 3214688"/>
                    <a:gd name="connsiteY28" fmla="*/ 2359062 h 3214688"/>
                    <a:gd name="connsiteX29" fmla="*/ 1152046 w 3214688"/>
                    <a:gd name="connsiteY29" fmla="*/ 2398957 h 3214688"/>
                    <a:gd name="connsiteX30" fmla="*/ 1097994 w 3214688"/>
                    <a:gd name="connsiteY30" fmla="*/ 2414312 h 3214688"/>
                    <a:gd name="connsiteX31" fmla="*/ 1168773 w 3214688"/>
                    <a:gd name="connsiteY31" fmla="*/ 2532767 h 3214688"/>
                    <a:gd name="connsiteX32" fmla="*/ 1528675 w 3214688"/>
                    <a:gd name="connsiteY32" fmla="*/ 2969732 h 3214688"/>
                    <a:gd name="connsiteX33" fmla="*/ 1546226 w 3214688"/>
                    <a:gd name="connsiteY33" fmla="*/ 2986822 h 3214688"/>
                    <a:gd name="connsiteX34" fmla="*/ 2486262 w 3214688"/>
                    <a:gd name="connsiteY34" fmla="*/ 1668463 h 3214688"/>
                    <a:gd name="connsiteX35" fmla="*/ 2482389 w 3214688"/>
                    <a:gd name="connsiteY35" fmla="*/ 1744921 h 3214688"/>
                    <a:gd name="connsiteX36" fmla="*/ 2321876 w 3214688"/>
                    <a:gd name="connsiteY36" fmla="*/ 2298467 h 3214688"/>
                    <a:gd name="connsiteX37" fmla="*/ 2297383 w 3214688"/>
                    <a:gd name="connsiteY37" fmla="*/ 2345664 h 3214688"/>
                    <a:gd name="connsiteX38" fmla="*/ 2392218 w 3214688"/>
                    <a:gd name="connsiteY38" fmla="*/ 2381629 h 3214688"/>
                    <a:gd name="connsiteX39" fmla="*/ 2596737 w 3214688"/>
                    <a:gd name="connsiteY39" fmla="*/ 2485449 h 3214688"/>
                    <a:gd name="connsiteX40" fmla="*/ 2730520 w 3214688"/>
                    <a:gd name="connsiteY40" fmla="*/ 2578412 h 3214688"/>
                    <a:gd name="connsiteX41" fmla="*/ 2753323 w 3214688"/>
                    <a:gd name="connsiteY41" fmla="*/ 2553309 h 3214688"/>
                    <a:gd name="connsiteX42" fmla="*/ 3084782 w 3214688"/>
                    <a:gd name="connsiteY42" fmla="*/ 1760063 h 3214688"/>
                    <a:gd name="connsiteX43" fmla="*/ 3089405 w 3214688"/>
                    <a:gd name="connsiteY43" fmla="*/ 1668463 h 3214688"/>
                    <a:gd name="connsiteX44" fmla="*/ 1668463 w 3214688"/>
                    <a:gd name="connsiteY44" fmla="*/ 1668463 h 3214688"/>
                    <a:gd name="connsiteX45" fmla="*/ 1668463 w 3214688"/>
                    <a:gd name="connsiteY45" fmla="*/ 2227749 h 3214688"/>
                    <a:gd name="connsiteX46" fmla="*/ 1854174 w 3214688"/>
                    <a:gd name="connsiteY46" fmla="*/ 2238874 h 3214688"/>
                    <a:gd name="connsiteX47" fmla="*/ 2093075 w 3214688"/>
                    <a:gd name="connsiteY47" fmla="*/ 2282190 h 3214688"/>
                    <a:gd name="connsiteX48" fmla="*/ 2180461 w 3214688"/>
                    <a:gd name="connsiteY48" fmla="*/ 2307322 h 3214688"/>
                    <a:gd name="connsiteX49" fmla="*/ 2223231 w 3214688"/>
                    <a:gd name="connsiteY49" fmla="*/ 2220775 h 3214688"/>
                    <a:gd name="connsiteX50" fmla="*/ 2360202 w 3214688"/>
                    <a:gd name="connsiteY50" fmla="*/ 1739141 h 3214688"/>
                    <a:gd name="connsiteX51" fmla="*/ 2363915 w 3214688"/>
                    <a:gd name="connsiteY51" fmla="*/ 1668463 h 3214688"/>
                    <a:gd name="connsiteX52" fmla="*/ 853934 w 3214688"/>
                    <a:gd name="connsiteY52" fmla="*/ 1668463 h 3214688"/>
                    <a:gd name="connsiteX53" fmla="*/ 857628 w 3214688"/>
                    <a:gd name="connsiteY53" fmla="*/ 1739141 h 3214688"/>
                    <a:gd name="connsiteX54" fmla="*/ 993929 w 3214688"/>
                    <a:gd name="connsiteY54" fmla="*/ 2220775 h 3214688"/>
                    <a:gd name="connsiteX55" fmla="*/ 1036215 w 3214688"/>
                    <a:gd name="connsiteY55" fmla="*/ 2306750 h 3214688"/>
                    <a:gd name="connsiteX56" fmla="*/ 1121614 w 3214688"/>
                    <a:gd name="connsiteY56" fmla="*/ 2282190 h 3214688"/>
                    <a:gd name="connsiteX57" fmla="*/ 1360516 w 3214688"/>
                    <a:gd name="connsiteY57" fmla="*/ 2238874 h 3214688"/>
                    <a:gd name="connsiteX58" fmla="*/ 1546226 w 3214688"/>
                    <a:gd name="connsiteY58" fmla="*/ 2227749 h 3214688"/>
                    <a:gd name="connsiteX59" fmla="*/ 1546226 w 3214688"/>
                    <a:gd name="connsiteY59" fmla="*/ 1668463 h 3214688"/>
                    <a:gd name="connsiteX60" fmla="*/ 125282 w 3214688"/>
                    <a:gd name="connsiteY60" fmla="*/ 1668463 h 3214688"/>
                    <a:gd name="connsiteX61" fmla="*/ 129905 w 3214688"/>
                    <a:gd name="connsiteY61" fmla="*/ 1760063 h 3214688"/>
                    <a:gd name="connsiteX62" fmla="*/ 461363 w 3214688"/>
                    <a:gd name="connsiteY62" fmla="*/ 2553309 h 3214688"/>
                    <a:gd name="connsiteX63" fmla="*/ 484168 w 3214688"/>
                    <a:gd name="connsiteY63" fmla="*/ 2578414 h 3214688"/>
                    <a:gd name="connsiteX64" fmla="*/ 617953 w 3214688"/>
                    <a:gd name="connsiteY64" fmla="*/ 2485449 h 3214688"/>
                    <a:gd name="connsiteX65" fmla="*/ 822472 w 3214688"/>
                    <a:gd name="connsiteY65" fmla="*/ 2381629 h 3214688"/>
                    <a:gd name="connsiteX66" fmla="*/ 918086 w 3214688"/>
                    <a:gd name="connsiteY66" fmla="*/ 2345368 h 3214688"/>
                    <a:gd name="connsiteX67" fmla="*/ 893910 w 3214688"/>
                    <a:gd name="connsiteY67" fmla="*/ 2298467 h 3214688"/>
                    <a:gd name="connsiteX68" fmla="*/ 735344 w 3214688"/>
                    <a:gd name="connsiteY68" fmla="*/ 1744921 h 3214688"/>
                    <a:gd name="connsiteX69" fmla="*/ 731546 w 3214688"/>
                    <a:gd name="connsiteY69" fmla="*/ 1668463 h 3214688"/>
                    <a:gd name="connsiteX70" fmla="*/ 1036436 w 3214688"/>
                    <a:gd name="connsiteY70" fmla="*/ 911460 h 3214688"/>
                    <a:gd name="connsiteX71" fmla="*/ 993929 w 3214688"/>
                    <a:gd name="connsiteY71" fmla="*/ 998077 h 3214688"/>
                    <a:gd name="connsiteX72" fmla="*/ 857628 w 3214688"/>
                    <a:gd name="connsiteY72" fmla="*/ 1481228 h 3214688"/>
                    <a:gd name="connsiteX73" fmla="*/ 854245 w 3214688"/>
                    <a:gd name="connsiteY73" fmla="*/ 1546225 h 3214688"/>
                    <a:gd name="connsiteX74" fmla="*/ 1546226 w 3214688"/>
                    <a:gd name="connsiteY74" fmla="*/ 1546225 h 3214688"/>
                    <a:gd name="connsiteX75" fmla="*/ 1546226 w 3214688"/>
                    <a:gd name="connsiteY75" fmla="*/ 990118 h 3214688"/>
                    <a:gd name="connsiteX76" fmla="*/ 1360255 w 3214688"/>
                    <a:gd name="connsiteY76" fmla="*/ 978989 h 3214688"/>
                    <a:gd name="connsiteX77" fmla="*/ 1120814 w 3214688"/>
                    <a:gd name="connsiteY77" fmla="*/ 935673 h 3214688"/>
                    <a:gd name="connsiteX78" fmla="*/ 2180241 w 3214688"/>
                    <a:gd name="connsiteY78" fmla="*/ 910890 h 3214688"/>
                    <a:gd name="connsiteX79" fmla="*/ 2093876 w 3214688"/>
                    <a:gd name="connsiteY79" fmla="*/ 935673 h 3214688"/>
                    <a:gd name="connsiteX80" fmla="*/ 1854434 w 3214688"/>
                    <a:gd name="connsiteY80" fmla="*/ 978989 h 3214688"/>
                    <a:gd name="connsiteX81" fmla="*/ 1668463 w 3214688"/>
                    <a:gd name="connsiteY81" fmla="*/ 990118 h 3214688"/>
                    <a:gd name="connsiteX82" fmla="*/ 1668463 w 3214688"/>
                    <a:gd name="connsiteY82" fmla="*/ 1546225 h 3214688"/>
                    <a:gd name="connsiteX83" fmla="*/ 2363603 w 3214688"/>
                    <a:gd name="connsiteY83" fmla="*/ 1546225 h 3214688"/>
                    <a:gd name="connsiteX84" fmla="*/ 2360202 w 3214688"/>
                    <a:gd name="connsiteY84" fmla="*/ 1481228 h 3214688"/>
                    <a:gd name="connsiteX85" fmla="*/ 2223231 w 3214688"/>
                    <a:gd name="connsiteY85" fmla="*/ 998077 h 3214688"/>
                    <a:gd name="connsiteX86" fmla="*/ 2731519 w 3214688"/>
                    <a:gd name="connsiteY86" fmla="*/ 638964 h 3214688"/>
                    <a:gd name="connsiteX87" fmla="*/ 2597865 w 3214688"/>
                    <a:gd name="connsiteY87" fmla="*/ 732415 h 3214688"/>
                    <a:gd name="connsiteX88" fmla="*/ 2393553 w 3214688"/>
                    <a:gd name="connsiteY88" fmla="*/ 836234 h 3214688"/>
                    <a:gd name="connsiteX89" fmla="*/ 2297528 w 3214688"/>
                    <a:gd name="connsiteY89" fmla="*/ 872602 h 3214688"/>
                    <a:gd name="connsiteX90" fmla="*/ 2321876 w 3214688"/>
                    <a:gd name="connsiteY90" fmla="*/ 919557 h 3214688"/>
                    <a:gd name="connsiteX91" fmla="*/ 2482389 w 3214688"/>
                    <a:gd name="connsiteY91" fmla="*/ 1474977 h 3214688"/>
                    <a:gd name="connsiteX92" fmla="*/ 2485971 w 3214688"/>
                    <a:gd name="connsiteY92" fmla="*/ 1546225 h 3214688"/>
                    <a:gd name="connsiteX93" fmla="*/ 3089325 w 3214688"/>
                    <a:gd name="connsiteY93" fmla="*/ 1546225 h 3214688"/>
                    <a:gd name="connsiteX94" fmla="*/ 3084782 w 3214688"/>
                    <a:gd name="connsiteY94" fmla="*/ 1456213 h 3214688"/>
                    <a:gd name="connsiteX95" fmla="*/ 2753323 w 3214688"/>
                    <a:gd name="connsiteY95" fmla="*/ 662968 h 3214688"/>
                    <a:gd name="connsiteX96" fmla="*/ 483169 w 3214688"/>
                    <a:gd name="connsiteY96" fmla="*/ 638963 h 3214688"/>
                    <a:gd name="connsiteX97" fmla="*/ 461363 w 3214688"/>
                    <a:gd name="connsiteY97" fmla="*/ 662968 h 3214688"/>
                    <a:gd name="connsiteX98" fmla="*/ 129905 w 3214688"/>
                    <a:gd name="connsiteY98" fmla="*/ 1456213 h 3214688"/>
                    <a:gd name="connsiteX99" fmla="*/ 125362 w 3214688"/>
                    <a:gd name="connsiteY99" fmla="*/ 1546225 h 3214688"/>
                    <a:gd name="connsiteX100" fmla="*/ 731831 w 3214688"/>
                    <a:gd name="connsiteY100" fmla="*/ 1546225 h 3214688"/>
                    <a:gd name="connsiteX101" fmla="*/ 735344 w 3214688"/>
                    <a:gd name="connsiteY101" fmla="*/ 1474977 h 3214688"/>
                    <a:gd name="connsiteX102" fmla="*/ 893910 w 3214688"/>
                    <a:gd name="connsiteY102" fmla="*/ 919557 h 3214688"/>
                    <a:gd name="connsiteX103" fmla="*/ 917942 w 3214688"/>
                    <a:gd name="connsiteY103" fmla="*/ 872897 h 3214688"/>
                    <a:gd name="connsiteX104" fmla="*/ 821137 w 3214688"/>
                    <a:gd name="connsiteY104" fmla="*/ 836234 h 3214688"/>
                    <a:gd name="connsiteX105" fmla="*/ 616825 w 3214688"/>
                    <a:gd name="connsiteY105" fmla="*/ 732415 h 3214688"/>
                    <a:gd name="connsiteX106" fmla="*/ 1546226 w 3214688"/>
                    <a:gd name="connsiteY106" fmla="*/ 231046 h 3214688"/>
                    <a:gd name="connsiteX107" fmla="*/ 1528675 w 3214688"/>
                    <a:gd name="connsiteY107" fmla="*/ 248139 h 3214688"/>
                    <a:gd name="connsiteX108" fmla="*/ 1168773 w 3214688"/>
                    <a:gd name="connsiteY108" fmla="*/ 685478 h 3214688"/>
                    <a:gd name="connsiteX109" fmla="*/ 1098769 w 3214688"/>
                    <a:gd name="connsiteY109" fmla="*/ 802845 h 3214688"/>
                    <a:gd name="connsiteX110" fmla="*/ 1152046 w 3214688"/>
                    <a:gd name="connsiteY110" fmla="*/ 818106 h 3214688"/>
                    <a:gd name="connsiteX111" fmla="*/ 1375851 w 3214688"/>
                    <a:gd name="connsiteY111" fmla="*/ 858541 h 3214688"/>
                    <a:gd name="connsiteX112" fmla="*/ 1546226 w 3214688"/>
                    <a:gd name="connsiteY112" fmla="*/ 868716 h 3214688"/>
                    <a:gd name="connsiteX113" fmla="*/ 1668463 w 3214688"/>
                    <a:gd name="connsiteY113" fmla="*/ 230823 h 3214688"/>
                    <a:gd name="connsiteX114" fmla="*/ 1668463 w 3214688"/>
                    <a:gd name="connsiteY114" fmla="*/ 868716 h 3214688"/>
                    <a:gd name="connsiteX115" fmla="*/ 1838838 w 3214688"/>
                    <a:gd name="connsiteY115" fmla="*/ 858541 h 3214688"/>
                    <a:gd name="connsiteX116" fmla="*/ 2062644 w 3214688"/>
                    <a:gd name="connsiteY116" fmla="*/ 818106 h 3214688"/>
                    <a:gd name="connsiteX117" fmla="*/ 2117610 w 3214688"/>
                    <a:gd name="connsiteY117" fmla="*/ 802362 h 3214688"/>
                    <a:gd name="connsiteX118" fmla="*/ 2047573 w 3214688"/>
                    <a:gd name="connsiteY118" fmla="*/ 685478 h 3214688"/>
                    <a:gd name="connsiteX119" fmla="*/ 1686282 w 3214688"/>
                    <a:gd name="connsiteY119" fmla="*/ 248139 h 3214688"/>
                    <a:gd name="connsiteX120" fmla="*/ 1739116 w 3214688"/>
                    <a:gd name="connsiteY120" fmla="*/ 128896 h 3214688"/>
                    <a:gd name="connsiteX121" fmla="*/ 1754615 w 3214688"/>
                    <a:gd name="connsiteY121" fmla="*/ 143696 h 3214688"/>
                    <a:gd name="connsiteX122" fmla="*/ 2066550 w 3214688"/>
                    <a:gd name="connsiteY122" fmla="*/ 501745 h 3214688"/>
                    <a:gd name="connsiteX123" fmla="*/ 2164154 w 3214688"/>
                    <a:gd name="connsiteY123" fmla="*/ 640209 h 3214688"/>
                    <a:gd name="connsiteX124" fmla="*/ 2239903 w 3214688"/>
                    <a:gd name="connsiteY124" fmla="*/ 764214 h 3214688"/>
                    <a:gd name="connsiteX125" fmla="*/ 2342448 w 3214688"/>
                    <a:gd name="connsiteY125" fmla="*/ 725496 h 3214688"/>
                    <a:gd name="connsiteX126" fmla="*/ 2533366 w 3214688"/>
                    <a:gd name="connsiteY126" fmla="*/ 629040 h 3214688"/>
                    <a:gd name="connsiteX127" fmla="*/ 2648575 w 3214688"/>
                    <a:gd name="connsiteY127" fmla="*/ 549358 h 3214688"/>
                    <a:gd name="connsiteX128" fmla="*/ 2552008 w 3214688"/>
                    <a:gd name="connsiteY128" fmla="*/ 461545 h 3214688"/>
                    <a:gd name="connsiteX129" fmla="*/ 1759187 w 3214688"/>
                    <a:gd name="connsiteY129" fmla="*/ 129910 h 3214688"/>
                    <a:gd name="connsiteX130" fmla="*/ 1475715 w 3214688"/>
                    <a:gd name="connsiteY130" fmla="*/ 128888 h 3214688"/>
                    <a:gd name="connsiteX131" fmla="*/ 1455500 w 3214688"/>
                    <a:gd name="connsiteY131" fmla="*/ 129910 h 3214688"/>
                    <a:gd name="connsiteX132" fmla="*/ 662678 w 3214688"/>
                    <a:gd name="connsiteY132" fmla="*/ 461545 h 3214688"/>
                    <a:gd name="connsiteX133" fmla="*/ 566113 w 3214688"/>
                    <a:gd name="connsiteY133" fmla="*/ 549357 h 3214688"/>
                    <a:gd name="connsiteX134" fmla="*/ 681324 w 3214688"/>
                    <a:gd name="connsiteY134" fmla="*/ 629040 h 3214688"/>
                    <a:gd name="connsiteX135" fmla="*/ 872242 w 3214688"/>
                    <a:gd name="connsiteY135" fmla="*/ 725496 h 3214688"/>
                    <a:gd name="connsiteX136" fmla="*/ 975251 w 3214688"/>
                    <a:gd name="connsiteY136" fmla="*/ 764389 h 3214688"/>
                    <a:gd name="connsiteX137" fmla="*/ 1050800 w 3214688"/>
                    <a:gd name="connsiteY137" fmla="*/ 640209 h 3214688"/>
                    <a:gd name="connsiteX138" fmla="*/ 1148273 w 3214688"/>
                    <a:gd name="connsiteY138" fmla="*/ 501745 h 3214688"/>
                    <a:gd name="connsiteX139" fmla="*/ 1460208 w 3214688"/>
                    <a:gd name="connsiteY139" fmla="*/ 143696 h 3214688"/>
                    <a:gd name="connsiteX140" fmla="*/ 1607344 w 3214688"/>
                    <a:gd name="connsiteY140" fmla="*/ 0 h 3214688"/>
                    <a:gd name="connsiteX141" fmla="*/ 3214688 w 3214688"/>
                    <a:gd name="connsiteY141" fmla="*/ 1607344 h 3214688"/>
                    <a:gd name="connsiteX142" fmla="*/ 1607344 w 3214688"/>
                    <a:gd name="connsiteY142" fmla="*/ 3214688 h 3214688"/>
                    <a:gd name="connsiteX143" fmla="*/ 0 w 3214688"/>
                    <a:gd name="connsiteY143" fmla="*/ 1607344 h 3214688"/>
                    <a:gd name="connsiteX144" fmla="*/ 1607344 w 3214688"/>
                    <a:gd name="connsiteY144" fmla="*/ 0 h 321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3214688" h="3214688">
                      <a:moveTo>
                        <a:pt x="2240514" y="2452692"/>
                      </a:moveTo>
                      <a:lnTo>
                        <a:pt x="2164154" y="2577661"/>
                      </a:lnTo>
                      <a:cubicBezTo>
                        <a:pt x="2133682" y="2623995"/>
                        <a:pt x="2101138" y="2670175"/>
                        <a:pt x="2066550" y="2716118"/>
                      </a:cubicBezTo>
                      <a:cubicBezTo>
                        <a:pt x="1950245" y="2873312"/>
                        <a:pt x="1834903" y="2995905"/>
                        <a:pt x="1754615" y="3074168"/>
                      </a:cubicBezTo>
                      <a:lnTo>
                        <a:pt x="1740871" y="3087292"/>
                      </a:lnTo>
                      <a:lnTo>
                        <a:pt x="1759187" y="3086367"/>
                      </a:lnTo>
                      <a:cubicBezTo>
                        <a:pt x="2058736" y="3055930"/>
                        <a:pt x="2331968" y="2936422"/>
                        <a:pt x="2552008" y="2754731"/>
                      </a:cubicBezTo>
                      <a:lnTo>
                        <a:pt x="2647815" y="2667609"/>
                      </a:lnTo>
                      <a:lnTo>
                        <a:pt x="2533366" y="2587696"/>
                      </a:lnTo>
                      <a:cubicBezTo>
                        <a:pt x="2472930" y="2551687"/>
                        <a:pt x="2409077" y="2519400"/>
                        <a:pt x="2342448" y="2491033"/>
                      </a:cubicBezTo>
                      <a:close/>
                      <a:moveTo>
                        <a:pt x="974642" y="2452516"/>
                      </a:moveTo>
                      <a:lnTo>
                        <a:pt x="872242" y="2491033"/>
                      </a:lnTo>
                      <a:cubicBezTo>
                        <a:pt x="805613" y="2519400"/>
                        <a:pt x="741760" y="2551687"/>
                        <a:pt x="681324" y="2587696"/>
                      </a:cubicBezTo>
                      <a:lnTo>
                        <a:pt x="566873" y="2667611"/>
                      </a:lnTo>
                      <a:lnTo>
                        <a:pt x="662678" y="2754731"/>
                      </a:lnTo>
                      <a:cubicBezTo>
                        <a:pt x="882719" y="2936422"/>
                        <a:pt x="1155951" y="3055930"/>
                        <a:pt x="1455500" y="3086367"/>
                      </a:cubicBezTo>
                      <a:lnTo>
                        <a:pt x="1473960" y="3087299"/>
                      </a:lnTo>
                      <a:lnTo>
                        <a:pt x="1460208" y="3074168"/>
                      </a:lnTo>
                      <a:cubicBezTo>
                        <a:pt x="1379921" y="2995905"/>
                        <a:pt x="1264578" y="2873312"/>
                        <a:pt x="1148273" y="2716118"/>
                      </a:cubicBezTo>
                      <a:cubicBezTo>
                        <a:pt x="1113686" y="2670175"/>
                        <a:pt x="1081189" y="2623995"/>
                        <a:pt x="1050800" y="2577661"/>
                      </a:cubicBezTo>
                      <a:close/>
                      <a:moveTo>
                        <a:pt x="1668463" y="2349078"/>
                      </a:moveTo>
                      <a:lnTo>
                        <a:pt x="1668463" y="2987045"/>
                      </a:lnTo>
                      <a:lnTo>
                        <a:pt x="1686282" y="2969732"/>
                      </a:lnTo>
                      <a:cubicBezTo>
                        <a:pt x="1781612" y="2874931"/>
                        <a:pt x="1920253" y="2723080"/>
                        <a:pt x="2047573" y="2532767"/>
                      </a:cubicBezTo>
                      <a:lnTo>
                        <a:pt x="2118389" y="2414793"/>
                      </a:lnTo>
                      <a:lnTo>
                        <a:pt x="2062644" y="2398957"/>
                      </a:lnTo>
                      <a:cubicBezTo>
                        <a:pt x="1989750" y="2381404"/>
                        <a:pt x="1914935" y="2368039"/>
                        <a:pt x="1838838" y="2359062"/>
                      </a:cubicBezTo>
                      <a:close/>
                      <a:moveTo>
                        <a:pt x="1546226" y="2349078"/>
                      </a:moveTo>
                      <a:lnTo>
                        <a:pt x="1375851" y="2359062"/>
                      </a:lnTo>
                      <a:cubicBezTo>
                        <a:pt x="1299755" y="2368039"/>
                        <a:pt x="1224940" y="2381404"/>
                        <a:pt x="1152046" y="2398957"/>
                      </a:cubicBezTo>
                      <a:lnTo>
                        <a:pt x="1097994" y="2414312"/>
                      </a:lnTo>
                      <a:lnTo>
                        <a:pt x="1168773" y="2532767"/>
                      </a:lnTo>
                      <a:cubicBezTo>
                        <a:pt x="1295523" y="2723080"/>
                        <a:pt x="1433595" y="2874931"/>
                        <a:pt x="1528675" y="2969732"/>
                      </a:cubicBezTo>
                      <a:lnTo>
                        <a:pt x="1546226" y="2986822"/>
                      </a:lnTo>
                      <a:close/>
                      <a:moveTo>
                        <a:pt x="2486262" y="1668463"/>
                      </a:moveTo>
                      <a:lnTo>
                        <a:pt x="2482389" y="1744921"/>
                      </a:lnTo>
                      <a:cubicBezTo>
                        <a:pt x="2464263" y="1925703"/>
                        <a:pt x="2410126" y="2111990"/>
                        <a:pt x="2321876" y="2298467"/>
                      </a:cubicBezTo>
                      <a:lnTo>
                        <a:pt x="2297383" y="2345664"/>
                      </a:lnTo>
                      <a:lnTo>
                        <a:pt x="2392218" y="2381629"/>
                      </a:lnTo>
                      <a:cubicBezTo>
                        <a:pt x="2463528" y="2412174"/>
                        <a:pt x="2531927" y="2446867"/>
                        <a:pt x="2596737" y="2485449"/>
                      </a:cubicBezTo>
                      <a:lnTo>
                        <a:pt x="2730520" y="2578412"/>
                      </a:lnTo>
                      <a:lnTo>
                        <a:pt x="2753323" y="2553309"/>
                      </a:lnTo>
                      <a:cubicBezTo>
                        <a:pt x="2934917" y="2333150"/>
                        <a:pt x="3054361" y="2059772"/>
                        <a:pt x="3084782" y="1760063"/>
                      </a:cubicBezTo>
                      <a:lnTo>
                        <a:pt x="3089405" y="1668463"/>
                      </a:lnTo>
                      <a:close/>
                      <a:moveTo>
                        <a:pt x="1668463" y="1668463"/>
                      </a:moveTo>
                      <a:lnTo>
                        <a:pt x="1668463" y="2227749"/>
                      </a:lnTo>
                      <a:lnTo>
                        <a:pt x="1854174" y="2238874"/>
                      </a:lnTo>
                      <a:cubicBezTo>
                        <a:pt x="1935356" y="2248644"/>
                        <a:pt x="2015217" y="2263170"/>
                        <a:pt x="2093075" y="2282190"/>
                      </a:cubicBezTo>
                      <a:lnTo>
                        <a:pt x="2180461" y="2307322"/>
                      </a:lnTo>
                      <a:lnTo>
                        <a:pt x="2223231" y="2220775"/>
                      </a:lnTo>
                      <a:cubicBezTo>
                        <a:pt x="2291457" y="2071357"/>
                        <a:pt x="2342510" y="1908976"/>
                        <a:pt x="2360202" y="1739141"/>
                      </a:cubicBezTo>
                      <a:lnTo>
                        <a:pt x="2363915" y="1668463"/>
                      </a:lnTo>
                      <a:close/>
                      <a:moveTo>
                        <a:pt x="853934" y="1668463"/>
                      </a:moveTo>
                      <a:lnTo>
                        <a:pt x="857628" y="1739141"/>
                      </a:lnTo>
                      <a:cubicBezTo>
                        <a:pt x="875231" y="1908976"/>
                        <a:pt x="926029" y="2071357"/>
                        <a:pt x="993929" y="2220775"/>
                      </a:cubicBezTo>
                      <a:lnTo>
                        <a:pt x="1036215" y="2306750"/>
                      </a:lnTo>
                      <a:lnTo>
                        <a:pt x="1121614" y="2282190"/>
                      </a:lnTo>
                      <a:cubicBezTo>
                        <a:pt x="1199473" y="2263170"/>
                        <a:pt x="1279334" y="2248644"/>
                        <a:pt x="1360516" y="2238874"/>
                      </a:cubicBezTo>
                      <a:lnTo>
                        <a:pt x="1546226" y="2227749"/>
                      </a:lnTo>
                      <a:lnTo>
                        <a:pt x="1546226" y="1668463"/>
                      </a:lnTo>
                      <a:close/>
                      <a:moveTo>
                        <a:pt x="125282" y="1668463"/>
                      </a:moveTo>
                      <a:lnTo>
                        <a:pt x="129905" y="1760063"/>
                      </a:lnTo>
                      <a:cubicBezTo>
                        <a:pt x="160326" y="2059772"/>
                        <a:pt x="279770" y="2333150"/>
                        <a:pt x="461363" y="2553309"/>
                      </a:cubicBezTo>
                      <a:lnTo>
                        <a:pt x="484168" y="2578414"/>
                      </a:lnTo>
                      <a:lnTo>
                        <a:pt x="617953" y="2485449"/>
                      </a:lnTo>
                      <a:cubicBezTo>
                        <a:pt x="682763" y="2446867"/>
                        <a:pt x="751163" y="2412174"/>
                        <a:pt x="822472" y="2381629"/>
                      </a:cubicBezTo>
                      <a:lnTo>
                        <a:pt x="918086" y="2345368"/>
                      </a:lnTo>
                      <a:lnTo>
                        <a:pt x="893910" y="2298467"/>
                      </a:lnTo>
                      <a:cubicBezTo>
                        <a:pt x="806372" y="2111990"/>
                        <a:pt x="753137" y="1925703"/>
                        <a:pt x="735344" y="1744921"/>
                      </a:cubicBezTo>
                      <a:lnTo>
                        <a:pt x="731546" y="1668463"/>
                      </a:lnTo>
                      <a:close/>
                      <a:moveTo>
                        <a:pt x="1036436" y="911460"/>
                      </a:moveTo>
                      <a:lnTo>
                        <a:pt x="993929" y="998077"/>
                      </a:lnTo>
                      <a:cubicBezTo>
                        <a:pt x="926029" y="1147854"/>
                        <a:pt x="875231" y="1310725"/>
                        <a:pt x="857628" y="1481228"/>
                      </a:cubicBezTo>
                      <a:lnTo>
                        <a:pt x="854245" y="1546225"/>
                      </a:lnTo>
                      <a:lnTo>
                        <a:pt x="1546226" y="1546225"/>
                      </a:lnTo>
                      <a:lnTo>
                        <a:pt x="1546226" y="990118"/>
                      </a:lnTo>
                      <a:lnTo>
                        <a:pt x="1360255" y="978989"/>
                      </a:lnTo>
                      <a:cubicBezTo>
                        <a:pt x="1278920" y="969219"/>
                        <a:pt x="1198859" y="954694"/>
                        <a:pt x="1120814" y="935673"/>
                      </a:cubicBezTo>
                      <a:close/>
                      <a:moveTo>
                        <a:pt x="2180241" y="910890"/>
                      </a:moveTo>
                      <a:lnTo>
                        <a:pt x="2093876" y="935673"/>
                      </a:lnTo>
                      <a:cubicBezTo>
                        <a:pt x="2015831" y="954694"/>
                        <a:pt x="1935770" y="969219"/>
                        <a:pt x="1854434" y="978989"/>
                      </a:cubicBezTo>
                      <a:lnTo>
                        <a:pt x="1668463" y="990118"/>
                      </a:lnTo>
                      <a:lnTo>
                        <a:pt x="1668463" y="1546225"/>
                      </a:lnTo>
                      <a:lnTo>
                        <a:pt x="2363603" y="1546225"/>
                      </a:lnTo>
                      <a:lnTo>
                        <a:pt x="2360202" y="1481228"/>
                      </a:lnTo>
                      <a:cubicBezTo>
                        <a:pt x="2342510" y="1310725"/>
                        <a:pt x="2291457" y="1147854"/>
                        <a:pt x="2223231" y="998077"/>
                      </a:cubicBezTo>
                      <a:close/>
                      <a:moveTo>
                        <a:pt x="2731519" y="638964"/>
                      </a:moveTo>
                      <a:lnTo>
                        <a:pt x="2597865" y="732415"/>
                      </a:lnTo>
                      <a:cubicBezTo>
                        <a:pt x="2533258" y="770996"/>
                        <a:pt x="2464907" y="805689"/>
                        <a:pt x="2393553" y="836234"/>
                      </a:cubicBezTo>
                      <a:lnTo>
                        <a:pt x="2297528" y="872602"/>
                      </a:lnTo>
                      <a:lnTo>
                        <a:pt x="2321876" y="919557"/>
                      </a:lnTo>
                      <a:cubicBezTo>
                        <a:pt x="2410126" y="1106247"/>
                        <a:pt x="2464263" y="1293033"/>
                        <a:pt x="2482389" y="1474977"/>
                      </a:cubicBezTo>
                      <a:lnTo>
                        <a:pt x="2485971" y="1546225"/>
                      </a:lnTo>
                      <a:lnTo>
                        <a:pt x="3089325" y="1546225"/>
                      </a:lnTo>
                      <a:lnTo>
                        <a:pt x="3084782" y="1456213"/>
                      </a:lnTo>
                      <a:cubicBezTo>
                        <a:pt x="3054361" y="1156504"/>
                        <a:pt x="2934917" y="883126"/>
                        <a:pt x="2753323" y="662968"/>
                      </a:cubicBezTo>
                      <a:close/>
                      <a:moveTo>
                        <a:pt x="483169" y="638963"/>
                      </a:moveTo>
                      <a:lnTo>
                        <a:pt x="461363" y="662968"/>
                      </a:lnTo>
                      <a:cubicBezTo>
                        <a:pt x="279770" y="883126"/>
                        <a:pt x="160326" y="1156504"/>
                        <a:pt x="129905" y="1456213"/>
                      </a:cubicBezTo>
                      <a:lnTo>
                        <a:pt x="125362" y="1546225"/>
                      </a:lnTo>
                      <a:lnTo>
                        <a:pt x="731831" y="1546225"/>
                      </a:lnTo>
                      <a:lnTo>
                        <a:pt x="735344" y="1474977"/>
                      </a:lnTo>
                      <a:cubicBezTo>
                        <a:pt x="753137" y="1293033"/>
                        <a:pt x="806372" y="1106247"/>
                        <a:pt x="893910" y="919557"/>
                      </a:cubicBezTo>
                      <a:lnTo>
                        <a:pt x="917942" y="872897"/>
                      </a:lnTo>
                      <a:lnTo>
                        <a:pt x="821137" y="836234"/>
                      </a:lnTo>
                      <a:cubicBezTo>
                        <a:pt x="749783" y="805689"/>
                        <a:pt x="681432" y="770996"/>
                        <a:pt x="616825" y="732415"/>
                      </a:cubicBezTo>
                      <a:close/>
                      <a:moveTo>
                        <a:pt x="1546226" y="231046"/>
                      </a:moveTo>
                      <a:lnTo>
                        <a:pt x="1528675" y="248139"/>
                      </a:lnTo>
                      <a:cubicBezTo>
                        <a:pt x="1433595" y="342957"/>
                        <a:pt x="1295523" y="494880"/>
                        <a:pt x="1168773" y="685478"/>
                      </a:cubicBezTo>
                      <a:lnTo>
                        <a:pt x="1098769" y="802845"/>
                      </a:lnTo>
                      <a:lnTo>
                        <a:pt x="1152046" y="818106"/>
                      </a:lnTo>
                      <a:cubicBezTo>
                        <a:pt x="1224940" y="835846"/>
                        <a:pt x="1299755" y="849411"/>
                        <a:pt x="1375851" y="858541"/>
                      </a:cubicBezTo>
                      <a:lnTo>
                        <a:pt x="1546226" y="868716"/>
                      </a:lnTo>
                      <a:close/>
                      <a:moveTo>
                        <a:pt x="1668463" y="230823"/>
                      </a:moveTo>
                      <a:lnTo>
                        <a:pt x="1668463" y="868716"/>
                      </a:lnTo>
                      <a:lnTo>
                        <a:pt x="1838838" y="858541"/>
                      </a:lnTo>
                      <a:cubicBezTo>
                        <a:pt x="1914935" y="849411"/>
                        <a:pt x="1989750" y="835846"/>
                        <a:pt x="2062644" y="818106"/>
                      </a:cubicBezTo>
                      <a:lnTo>
                        <a:pt x="2117610" y="802362"/>
                      </a:lnTo>
                      <a:lnTo>
                        <a:pt x="2047573" y="685478"/>
                      </a:lnTo>
                      <a:cubicBezTo>
                        <a:pt x="1920253" y="494880"/>
                        <a:pt x="1781612" y="342957"/>
                        <a:pt x="1686282" y="248139"/>
                      </a:cubicBezTo>
                      <a:close/>
                      <a:moveTo>
                        <a:pt x="1739116" y="128896"/>
                      </a:moveTo>
                      <a:lnTo>
                        <a:pt x="1754615" y="143696"/>
                      </a:lnTo>
                      <a:cubicBezTo>
                        <a:pt x="1834903" y="221959"/>
                        <a:pt x="1950245" y="344552"/>
                        <a:pt x="2066550" y="501745"/>
                      </a:cubicBezTo>
                      <a:cubicBezTo>
                        <a:pt x="2101138" y="547688"/>
                        <a:pt x="2133682" y="593868"/>
                        <a:pt x="2164154" y="640209"/>
                      </a:cubicBezTo>
                      <a:lnTo>
                        <a:pt x="2239903" y="764214"/>
                      </a:lnTo>
                      <a:lnTo>
                        <a:pt x="2342448" y="725496"/>
                      </a:lnTo>
                      <a:cubicBezTo>
                        <a:pt x="2409077" y="697086"/>
                        <a:pt x="2472930" y="664847"/>
                        <a:pt x="2533366" y="629040"/>
                      </a:cubicBezTo>
                      <a:lnTo>
                        <a:pt x="2648575" y="549358"/>
                      </a:lnTo>
                      <a:lnTo>
                        <a:pt x="2552008" y="461545"/>
                      </a:lnTo>
                      <a:cubicBezTo>
                        <a:pt x="2331968" y="279855"/>
                        <a:pt x="2058736" y="160347"/>
                        <a:pt x="1759187" y="129910"/>
                      </a:cubicBezTo>
                      <a:close/>
                      <a:moveTo>
                        <a:pt x="1475715" y="128888"/>
                      </a:moveTo>
                      <a:lnTo>
                        <a:pt x="1455500" y="129910"/>
                      </a:lnTo>
                      <a:cubicBezTo>
                        <a:pt x="1155951" y="160347"/>
                        <a:pt x="882719" y="279855"/>
                        <a:pt x="662678" y="461545"/>
                      </a:cubicBezTo>
                      <a:lnTo>
                        <a:pt x="566113" y="549357"/>
                      </a:lnTo>
                      <a:lnTo>
                        <a:pt x="681324" y="629040"/>
                      </a:lnTo>
                      <a:cubicBezTo>
                        <a:pt x="741760" y="664847"/>
                        <a:pt x="805613" y="697086"/>
                        <a:pt x="872242" y="725496"/>
                      </a:cubicBezTo>
                      <a:lnTo>
                        <a:pt x="975251" y="764389"/>
                      </a:lnTo>
                      <a:lnTo>
                        <a:pt x="1050800" y="640209"/>
                      </a:lnTo>
                      <a:cubicBezTo>
                        <a:pt x="1081189" y="593868"/>
                        <a:pt x="1113686" y="547688"/>
                        <a:pt x="1148273" y="501745"/>
                      </a:cubicBezTo>
                      <a:cubicBezTo>
                        <a:pt x="1264578" y="344552"/>
                        <a:pt x="1379921" y="221959"/>
                        <a:pt x="1460208" y="143696"/>
                      </a:cubicBezTo>
                      <a:close/>
                      <a:moveTo>
                        <a:pt x="1607344" y="0"/>
                      </a:moveTo>
                      <a:cubicBezTo>
                        <a:pt x="2495056" y="0"/>
                        <a:pt x="3214688" y="719632"/>
                        <a:pt x="3214688" y="1607344"/>
                      </a:cubicBezTo>
                      <a:cubicBezTo>
                        <a:pt x="3214688" y="2495056"/>
                        <a:pt x="2495056" y="3214688"/>
                        <a:pt x="1607344" y="3214688"/>
                      </a:cubicBezTo>
                      <a:cubicBezTo>
                        <a:pt x="719632" y="3214688"/>
                        <a:pt x="0" y="2495056"/>
                        <a:pt x="0" y="1607344"/>
                      </a:cubicBezTo>
                      <a:cubicBezTo>
                        <a:pt x="0" y="719632"/>
                        <a:pt x="719632" y="0"/>
                        <a:pt x="1607344" y="0"/>
                      </a:cubicBezTo>
                      <a:close/>
                    </a:path>
                  </a:pathLst>
                </a:custGeom>
                <a:solidFill>
                  <a:srgbClr val="0078D7"/>
                </a:solidFill>
                <a:ln>
                  <a:noFill/>
                </a:ln>
              </p:spPr>
              <p:txBody>
                <a:bodyPr vert="horz" wrap="square" lIns="91427" tIns="45713" rIns="91427" bIns="45713" numCol="1" anchor="t" anchorCtr="0" compatLnSpc="1">
                  <a:prstTxWarp prst="textNoShape">
                    <a:avLst/>
                  </a:prstTxWarp>
                  <a:noAutofit/>
                </a:bodyPr>
                <a:lstStyle/>
                <a:p>
                  <a:pPr defTabSz="914225">
                    <a:defRPr/>
                  </a:pPr>
                  <a:endParaRPr lang="en-US" kern="0" dirty="0">
                    <a:solidFill>
                      <a:srgbClr val="FFFFFF"/>
                    </a:solidFill>
                    <a:latin typeface="Segoe UI"/>
                  </a:endParaRPr>
                </a:p>
              </p:txBody>
            </p:sp>
            <p:sp>
              <p:nvSpPr>
                <p:cNvPr id="20" name="Freeform 19"/>
                <p:cNvSpPr>
                  <a:spLocks/>
                </p:cNvSpPr>
                <p:nvPr/>
              </p:nvSpPr>
              <p:spPr bwMode="auto">
                <a:xfrm>
                  <a:off x="10935462" y="3576787"/>
                  <a:ext cx="131222" cy="235796"/>
                </a:xfrm>
                <a:custGeom>
                  <a:avLst/>
                  <a:gdLst>
                    <a:gd name="connsiteX0" fmla="*/ 930274 w 1860550"/>
                    <a:gd name="connsiteY0" fmla="*/ 2997199 h 3343276"/>
                    <a:gd name="connsiteX1" fmla="*/ 898524 w 1860550"/>
                    <a:gd name="connsiteY1" fmla="*/ 3030537 h 3343276"/>
                    <a:gd name="connsiteX2" fmla="*/ 930274 w 1860550"/>
                    <a:gd name="connsiteY2" fmla="*/ 3063875 h 3343276"/>
                    <a:gd name="connsiteX3" fmla="*/ 962024 w 1860550"/>
                    <a:gd name="connsiteY3" fmla="*/ 3030537 h 3343276"/>
                    <a:gd name="connsiteX4" fmla="*/ 930274 w 1860550"/>
                    <a:gd name="connsiteY4" fmla="*/ 2997199 h 3343276"/>
                    <a:gd name="connsiteX5" fmla="*/ 930275 w 1860550"/>
                    <a:gd name="connsiteY5" fmla="*/ 2874962 h 3343276"/>
                    <a:gd name="connsiteX6" fmla="*/ 1084263 w 1860550"/>
                    <a:gd name="connsiteY6" fmla="*/ 3029744 h 3343276"/>
                    <a:gd name="connsiteX7" fmla="*/ 930275 w 1860550"/>
                    <a:gd name="connsiteY7" fmla="*/ 3184526 h 3343276"/>
                    <a:gd name="connsiteX8" fmla="*/ 776287 w 1860550"/>
                    <a:gd name="connsiteY8" fmla="*/ 3029744 h 3343276"/>
                    <a:gd name="connsiteX9" fmla="*/ 930275 w 1860550"/>
                    <a:gd name="connsiteY9" fmla="*/ 2874962 h 3343276"/>
                    <a:gd name="connsiteX10" fmla="*/ 122238 w 1860550"/>
                    <a:gd name="connsiteY10" fmla="*/ 2844800 h 3343276"/>
                    <a:gd name="connsiteX11" fmla="*/ 122238 w 1860550"/>
                    <a:gd name="connsiteY11" fmla="*/ 2858922 h 3343276"/>
                    <a:gd name="connsiteX12" fmla="*/ 122238 w 1860550"/>
                    <a:gd name="connsiteY12" fmla="*/ 2919914 h 3343276"/>
                    <a:gd name="connsiteX13" fmla="*/ 122238 w 1860550"/>
                    <a:gd name="connsiteY13" fmla="*/ 2937881 h 3343276"/>
                    <a:gd name="connsiteX14" fmla="*/ 122238 w 1860550"/>
                    <a:gd name="connsiteY14" fmla="*/ 2976361 h 3343276"/>
                    <a:gd name="connsiteX15" fmla="*/ 122238 w 1860550"/>
                    <a:gd name="connsiteY15" fmla="*/ 2994458 h 3343276"/>
                    <a:gd name="connsiteX16" fmla="*/ 122238 w 1860550"/>
                    <a:gd name="connsiteY16" fmla="*/ 3016807 h 3343276"/>
                    <a:gd name="connsiteX17" fmla="*/ 122238 w 1860550"/>
                    <a:gd name="connsiteY17" fmla="*/ 3032384 h 3343276"/>
                    <a:gd name="connsiteX18" fmla="*/ 122238 w 1860550"/>
                    <a:gd name="connsiteY18" fmla="*/ 3043919 h 3343276"/>
                    <a:gd name="connsiteX19" fmla="*/ 122238 w 1860550"/>
                    <a:gd name="connsiteY19" fmla="*/ 3055388 h 3343276"/>
                    <a:gd name="connsiteX20" fmla="*/ 122238 w 1860550"/>
                    <a:gd name="connsiteY20" fmla="*/ 3067200 h 3343276"/>
                    <a:gd name="connsiteX21" fmla="*/ 122238 w 1860550"/>
                    <a:gd name="connsiteY21" fmla="*/ 3068809 h 3343276"/>
                    <a:gd name="connsiteX22" fmla="*/ 122238 w 1860550"/>
                    <a:gd name="connsiteY22" fmla="*/ 3072174 h 3343276"/>
                    <a:gd name="connsiteX23" fmla="*/ 268324 w 1860550"/>
                    <a:gd name="connsiteY23" fmla="*/ 3221038 h 3343276"/>
                    <a:gd name="connsiteX24" fmla="*/ 1589184 w 1860550"/>
                    <a:gd name="connsiteY24" fmla="*/ 3221038 h 3343276"/>
                    <a:gd name="connsiteX25" fmla="*/ 1738313 w 1860550"/>
                    <a:gd name="connsiteY25" fmla="*/ 3072174 h 3343276"/>
                    <a:gd name="connsiteX26" fmla="*/ 1738313 w 1860550"/>
                    <a:gd name="connsiteY26" fmla="*/ 2997250 h 3343276"/>
                    <a:gd name="connsiteX27" fmla="*/ 1738313 w 1860550"/>
                    <a:gd name="connsiteY27" fmla="*/ 2940804 h 3343276"/>
                    <a:gd name="connsiteX28" fmla="*/ 1738313 w 1860550"/>
                    <a:gd name="connsiteY28" fmla="*/ 2900358 h 3343276"/>
                    <a:gd name="connsiteX29" fmla="*/ 1738313 w 1860550"/>
                    <a:gd name="connsiteY29" fmla="*/ 2873246 h 3343276"/>
                    <a:gd name="connsiteX30" fmla="*/ 1738313 w 1860550"/>
                    <a:gd name="connsiteY30" fmla="*/ 2848356 h 3343276"/>
                    <a:gd name="connsiteX31" fmla="*/ 1738313 w 1860550"/>
                    <a:gd name="connsiteY31" fmla="*/ 2844800 h 3343276"/>
                    <a:gd name="connsiteX32" fmla="*/ 122238 w 1860550"/>
                    <a:gd name="connsiteY32" fmla="*/ 461963 h 3343276"/>
                    <a:gd name="connsiteX33" fmla="*/ 122238 w 1860550"/>
                    <a:gd name="connsiteY33" fmla="*/ 525582 h 3343276"/>
                    <a:gd name="connsiteX34" fmla="*/ 122238 w 1860550"/>
                    <a:gd name="connsiteY34" fmla="*/ 2618936 h 3343276"/>
                    <a:gd name="connsiteX35" fmla="*/ 122238 w 1860550"/>
                    <a:gd name="connsiteY35" fmla="*/ 2722563 h 3343276"/>
                    <a:gd name="connsiteX36" fmla="*/ 169032 w 1860550"/>
                    <a:gd name="connsiteY36" fmla="*/ 2722563 h 3343276"/>
                    <a:gd name="connsiteX37" fmla="*/ 1704747 w 1860550"/>
                    <a:gd name="connsiteY37" fmla="*/ 2722563 h 3343276"/>
                    <a:gd name="connsiteX38" fmla="*/ 1738313 w 1860550"/>
                    <a:gd name="connsiteY38" fmla="*/ 2722563 h 3343276"/>
                    <a:gd name="connsiteX39" fmla="*/ 1738313 w 1860550"/>
                    <a:gd name="connsiteY39" fmla="*/ 2521894 h 3343276"/>
                    <a:gd name="connsiteX40" fmla="*/ 1738313 w 1860550"/>
                    <a:gd name="connsiteY40" fmla="*/ 505665 h 3343276"/>
                    <a:gd name="connsiteX41" fmla="*/ 1738313 w 1860550"/>
                    <a:gd name="connsiteY41" fmla="*/ 461963 h 3343276"/>
                    <a:gd name="connsiteX42" fmla="*/ 1691518 w 1860550"/>
                    <a:gd name="connsiteY42" fmla="*/ 461963 h 3343276"/>
                    <a:gd name="connsiteX43" fmla="*/ 155803 w 1860550"/>
                    <a:gd name="connsiteY43" fmla="*/ 461963 h 3343276"/>
                    <a:gd name="connsiteX44" fmla="*/ 721442 w 1860550"/>
                    <a:gd name="connsiteY44" fmla="*/ 169863 h 3343276"/>
                    <a:gd name="connsiteX45" fmla="*/ 1072433 w 1860550"/>
                    <a:gd name="connsiteY45" fmla="*/ 169863 h 3343276"/>
                    <a:gd name="connsiteX46" fmla="*/ 1133475 w 1860550"/>
                    <a:gd name="connsiteY46" fmla="*/ 230982 h 3343276"/>
                    <a:gd name="connsiteX47" fmla="*/ 1072433 w 1860550"/>
                    <a:gd name="connsiteY47" fmla="*/ 292101 h 3343276"/>
                    <a:gd name="connsiteX48" fmla="*/ 721442 w 1860550"/>
                    <a:gd name="connsiteY48" fmla="*/ 292101 h 3343276"/>
                    <a:gd name="connsiteX49" fmla="*/ 660400 w 1860550"/>
                    <a:gd name="connsiteY49" fmla="*/ 230982 h 3343276"/>
                    <a:gd name="connsiteX50" fmla="*/ 721442 w 1860550"/>
                    <a:gd name="connsiteY50" fmla="*/ 169863 h 3343276"/>
                    <a:gd name="connsiteX51" fmla="*/ 1281907 w 1860550"/>
                    <a:gd name="connsiteY51" fmla="*/ 149225 h 3343276"/>
                    <a:gd name="connsiteX52" fmla="*/ 1363664 w 1860550"/>
                    <a:gd name="connsiteY52" fmla="*/ 229394 h 3343276"/>
                    <a:gd name="connsiteX53" fmla="*/ 1281907 w 1860550"/>
                    <a:gd name="connsiteY53" fmla="*/ 309563 h 3343276"/>
                    <a:gd name="connsiteX54" fmla="*/ 1200150 w 1860550"/>
                    <a:gd name="connsiteY54" fmla="*/ 229394 h 3343276"/>
                    <a:gd name="connsiteX55" fmla="*/ 1281907 w 1860550"/>
                    <a:gd name="connsiteY55" fmla="*/ 149225 h 3343276"/>
                    <a:gd name="connsiteX56" fmla="*/ 268324 w 1860550"/>
                    <a:gd name="connsiteY56" fmla="*/ 122238 h 3343276"/>
                    <a:gd name="connsiteX57" fmla="*/ 122238 w 1860550"/>
                    <a:gd name="connsiteY57" fmla="*/ 271331 h 3343276"/>
                    <a:gd name="connsiteX58" fmla="*/ 122238 w 1860550"/>
                    <a:gd name="connsiteY58" fmla="*/ 341313 h 3343276"/>
                    <a:gd name="connsiteX59" fmla="*/ 1738313 w 1860550"/>
                    <a:gd name="connsiteY59" fmla="*/ 341313 h 3343276"/>
                    <a:gd name="connsiteX60" fmla="*/ 1738313 w 1860550"/>
                    <a:gd name="connsiteY60" fmla="*/ 314869 h 3343276"/>
                    <a:gd name="connsiteX61" fmla="*/ 1738313 w 1860550"/>
                    <a:gd name="connsiteY61" fmla="*/ 300855 h 3343276"/>
                    <a:gd name="connsiteX62" fmla="*/ 1738313 w 1860550"/>
                    <a:gd name="connsiteY62" fmla="*/ 289566 h 3343276"/>
                    <a:gd name="connsiteX63" fmla="*/ 1738313 w 1860550"/>
                    <a:gd name="connsiteY63" fmla="*/ 280079 h 3343276"/>
                    <a:gd name="connsiteX64" fmla="*/ 1738313 w 1860550"/>
                    <a:gd name="connsiteY64" fmla="*/ 276573 h 3343276"/>
                    <a:gd name="connsiteX65" fmla="*/ 1738313 w 1860550"/>
                    <a:gd name="connsiteY65" fmla="*/ 271331 h 3343276"/>
                    <a:gd name="connsiteX66" fmla="*/ 1589184 w 1860550"/>
                    <a:gd name="connsiteY66" fmla="*/ 122238 h 3343276"/>
                    <a:gd name="connsiteX67" fmla="*/ 1469183 w 1860550"/>
                    <a:gd name="connsiteY67" fmla="*/ 122238 h 3343276"/>
                    <a:gd name="connsiteX68" fmla="*/ 1356679 w 1860550"/>
                    <a:gd name="connsiteY68" fmla="*/ 122238 h 3343276"/>
                    <a:gd name="connsiteX69" fmla="*/ 1153197 w 1860550"/>
                    <a:gd name="connsiteY69" fmla="*/ 122238 h 3343276"/>
                    <a:gd name="connsiteX70" fmla="*/ 976803 w 1860550"/>
                    <a:gd name="connsiteY70" fmla="*/ 122238 h 3343276"/>
                    <a:gd name="connsiteX71" fmla="*/ 825562 w 1860550"/>
                    <a:gd name="connsiteY71" fmla="*/ 122238 h 3343276"/>
                    <a:gd name="connsiteX72" fmla="*/ 697539 w 1860550"/>
                    <a:gd name="connsiteY72" fmla="*/ 122238 h 3343276"/>
                    <a:gd name="connsiteX73" fmla="*/ 590799 w 1860550"/>
                    <a:gd name="connsiteY73" fmla="*/ 122238 h 3343276"/>
                    <a:gd name="connsiteX74" fmla="*/ 503408 w 1860550"/>
                    <a:gd name="connsiteY74" fmla="*/ 122238 h 3343276"/>
                    <a:gd name="connsiteX75" fmla="*/ 433431 w 1860550"/>
                    <a:gd name="connsiteY75" fmla="*/ 122238 h 3343276"/>
                    <a:gd name="connsiteX76" fmla="*/ 378933 w 1860550"/>
                    <a:gd name="connsiteY76" fmla="*/ 122238 h 3343276"/>
                    <a:gd name="connsiteX77" fmla="*/ 337979 w 1860550"/>
                    <a:gd name="connsiteY77" fmla="*/ 122238 h 3343276"/>
                    <a:gd name="connsiteX78" fmla="*/ 308633 w 1860550"/>
                    <a:gd name="connsiteY78" fmla="*/ 122238 h 3343276"/>
                    <a:gd name="connsiteX79" fmla="*/ 288962 w 1860550"/>
                    <a:gd name="connsiteY79" fmla="*/ 122238 h 3343276"/>
                    <a:gd name="connsiteX80" fmla="*/ 277031 w 1860550"/>
                    <a:gd name="connsiteY80" fmla="*/ 122238 h 3343276"/>
                    <a:gd name="connsiteX81" fmla="*/ 270904 w 1860550"/>
                    <a:gd name="connsiteY81" fmla="*/ 122238 h 3343276"/>
                    <a:gd name="connsiteX82" fmla="*/ 267968 w 1860550"/>
                    <a:gd name="connsiteY82" fmla="*/ 0 h 3343276"/>
                    <a:gd name="connsiteX83" fmla="*/ 1589537 w 1860550"/>
                    <a:gd name="connsiteY83" fmla="*/ 0 h 3343276"/>
                    <a:gd name="connsiteX84" fmla="*/ 1860550 w 1860550"/>
                    <a:gd name="connsiteY84" fmla="*/ 270492 h 3343276"/>
                    <a:gd name="connsiteX85" fmla="*/ 1860550 w 1860550"/>
                    <a:gd name="connsiteY85" fmla="*/ 270501 h 3343276"/>
                    <a:gd name="connsiteX86" fmla="*/ 1860550 w 1860550"/>
                    <a:gd name="connsiteY86" fmla="*/ 461963 h 3343276"/>
                    <a:gd name="connsiteX87" fmla="*/ 1860550 w 1860550"/>
                    <a:gd name="connsiteY87" fmla="*/ 525090 h 3343276"/>
                    <a:gd name="connsiteX88" fmla="*/ 1860550 w 1860550"/>
                    <a:gd name="connsiteY88" fmla="*/ 2619341 h 3343276"/>
                    <a:gd name="connsiteX89" fmla="*/ 1860550 w 1860550"/>
                    <a:gd name="connsiteY89" fmla="*/ 2722563 h 3343276"/>
                    <a:gd name="connsiteX90" fmla="*/ 1860550 w 1860550"/>
                    <a:gd name="connsiteY90" fmla="*/ 2754314 h 3343276"/>
                    <a:gd name="connsiteX91" fmla="*/ 1860550 w 1860550"/>
                    <a:gd name="connsiteY91" fmla="*/ 2838062 h 3343276"/>
                    <a:gd name="connsiteX92" fmla="*/ 1860550 w 1860550"/>
                    <a:gd name="connsiteY92" fmla="*/ 2859431 h 3343276"/>
                    <a:gd name="connsiteX93" fmla="*/ 1860550 w 1860550"/>
                    <a:gd name="connsiteY93" fmla="*/ 2924856 h 3343276"/>
                    <a:gd name="connsiteX94" fmla="*/ 1860550 w 1860550"/>
                    <a:gd name="connsiteY94" fmla="*/ 2938424 h 3343276"/>
                    <a:gd name="connsiteX95" fmla="*/ 1860550 w 1860550"/>
                    <a:gd name="connsiteY95" fmla="*/ 2987047 h 3343276"/>
                    <a:gd name="connsiteX96" fmla="*/ 1860550 w 1860550"/>
                    <a:gd name="connsiteY96" fmla="*/ 2995025 h 3343276"/>
                    <a:gd name="connsiteX97" fmla="*/ 1860550 w 1860550"/>
                    <a:gd name="connsiteY97" fmla="*/ 3028736 h 3343276"/>
                    <a:gd name="connsiteX98" fmla="*/ 1860550 w 1860550"/>
                    <a:gd name="connsiteY98" fmla="*/ 3032967 h 3343276"/>
                    <a:gd name="connsiteX99" fmla="*/ 1860550 w 1860550"/>
                    <a:gd name="connsiteY99" fmla="*/ 3054023 h 3343276"/>
                    <a:gd name="connsiteX100" fmla="*/ 1860550 w 1860550"/>
                    <a:gd name="connsiteY100" fmla="*/ 3055980 h 3343276"/>
                    <a:gd name="connsiteX101" fmla="*/ 1860550 w 1860550"/>
                    <a:gd name="connsiteY101" fmla="*/ 3067008 h 3343276"/>
                    <a:gd name="connsiteX102" fmla="*/ 1860550 w 1860550"/>
                    <a:gd name="connsiteY102" fmla="*/ 3067798 h 3343276"/>
                    <a:gd name="connsiteX103" fmla="*/ 1860550 w 1860550"/>
                    <a:gd name="connsiteY103" fmla="*/ 3072475 h 3343276"/>
                    <a:gd name="connsiteX104" fmla="*/ 1860550 w 1860550"/>
                    <a:gd name="connsiteY104" fmla="*/ 3072774 h 3343276"/>
                    <a:gd name="connsiteX105" fmla="*/ 1694831 w 1860550"/>
                    <a:gd name="connsiteY105" fmla="*/ 3321952 h 3343276"/>
                    <a:gd name="connsiteX106" fmla="*/ 1593989 w 1860550"/>
                    <a:gd name="connsiteY106" fmla="*/ 3342374 h 3343276"/>
                    <a:gd name="connsiteX107" fmla="*/ 1589537 w 1860550"/>
                    <a:gd name="connsiteY107" fmla="*/ 3343276 h 3343276"/>
                    <a:gd name="connsiteX108" fmla="*/ 267968 w 1860550"/>
                    <a:gd name="connsiteY108" fmla="*/ 3343276 h 3343276"/>
                    <a:gd name="connsiteX109" fmla="*/ 263590 w 1860550"/>
                    <a:gd name="connsiteY109" fmla="*/ 3342374 h 3343276"/>
                    <a:gd name="connsiteX110" fmla="*/ 164435 w 1860550"/>
                    <a:gd name="connsiteY110" fmla="*/ 3321952 h 3343276"/>
                    <a:gd name="connsiteX111" fmla="*/ 0 w 1860550"/>
                    <a:gd name="connsiteY111" fmla="*/ 3072774 h 3343276"/>
                    <a:gd name="connsiteX112" fmla="*/ 0 w 1860550"/>
                    <a:gd name="connsiteY112" fmla="*/ 3072475 h 3343276"/>
                    <a:gd name="connsiteX113" fmla="*/ 0 w 1860550"/>
                    <a:gd name="connsiteY113" fmla="*/ 2956977 h 3343276"/>
                    <a:gd name="connsiteX114" fmla="*/ 0 w 1860550"/>
                    <a:gd name="connsiteY114" fmla="*/ 2870182 h 3343276"/>
                    <a:gd name="connsiteX115" fmla="*/ 0 w 1860550"/>
                    <a:gd name="connsiteY115" fmla="*/ 2807991 h 3343276"/>
                    <a:gd name="connsiteX116" fmla="*/ 0 w 1860550"/>
                    <a:gd name="connsiteY116" fmla="*/ 2787491 h 3343276"/>
                    <a:gd name="connsiteX117" fmla="*/ 0 w 1860550"/>
                    <a:gd name="connsiteY117" fmla="*/ 2766302 h 3343276"/>
                    <a:gd name="connsiteX118" fmla="*/ 0 w 1860550"/>
                    <a:gd name="connsiteY118" fmla="*/ 2741016 h 3343276"/>
                    <a:gd name="connsiteX119" fmla="*/ 0 w 1860550"/>
                    <a:gd name="connsiteY119" fmla="*/ 2728031 h 3343276"/>
                    <a:gd name="connsiteX120" fmla="*/ 0 w 1860550"/>
                    <a:gd name="connsiteY120" fmla="*/ 2722563 h 3343276"/>
                    <a:gd name="connsiteX121" fmla="*/ 0 w 1860550"/>
                    <a:gd name="connsiteY121" fmla="*/ 2522258 h 3343276"/>
                    <a:gd name="connsiteX122" fmla="*/ 0 w 1860550"/>
                    <a:gd name="connsiteY122" fmla="*/ 505164 h 3343276"/>
                    <a:gd name="connsiteX123" fmla="*/ 0 w 1860550"/>
                    <a:gd name="connsiteY123" fmla="*/ 461963 h 3343276"/>
                    <a:gd name="connsiteX124" fmla="*/ 0 w 1860550"/>
                    <a:gd name="connsiteY124" fmla="*/ 418277 h 3343276"/>
                    <a:gd name="connsiteX125" fmla="*/ 0 w 1860550"/>
                    <a:gd name="connsiteY125" fmla="*/ 398763 h 3343276"/>
                    <a:gd name="connsiteX126" fmla="*/ 0 w 1860550"/>
                    <a:gd name="connsiteY126" fmla="*/ 356020 h 3343276"/>
                    <a:gd name="connsiteX127" fmla="*/ 0 w 1860550"/>
                    <a:gd name="connsiteY127" fmla="*/ 351269 h 3343276"/>
                    <a:gd name="connsiteX128" fmla="*/ 0 w 1860550"/>
                    <a:gd name="connsiteY128" fmla="*/ 314287 h 3343276"/>
                    <a:gd name="connsiteX129" fmla="*/ 0 w 1860550"/>
                    <a:gd name="connsiteY129" fmla="*/ 294426 h 3343276"/>
                    <a:gd name="connsiteX130" fmla="*/ 0 w 1860550"/>
                    <a:gd name="connsiteY130" fmla="*/ 288973 h 3343276"/>
                    <a:gd name="connsiteX131" fmla="*/ 0 w 1860550"/>
                    <a:gd name="connsiteY131" fmla="*/ 275975 h 3343276"/>
                    <a:gd name="connsiteX132" fmla="*/ 0 w 1860550"/>
                    <a:gd name="connsiteY132" fmla="*/ 273484 h 3343276"/>
                    <a:gd name="connsiteX133" fmla="*/ 0 w 1860550"/>
                    <a:gd name="connsiteY133" fmla="*/ 270501 h 3343276"/>
                    <a:gd name="connsiteX134" fmla="*/ 0 w 1860550"/>
                    <a:gd name="connsiteY134" fmla="*/ 270492 h 3343276"/>
                    <a:gd name="connsiteX135" fmla="*/ 267968 w 1860550"/>
                    <a:gd name="connsiteY135" fmla="*/ 0 h 33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860550" h="3343276">
                      <a:moveTo>
                        <a:pt x="930274" y="2997199"/>
                      </a:moveTo>
                      <a:cubicBezTo>
                        <a:pt x="912739" y="2997199"/>
                        <a:pt x="898524" y="3012125"/>
                        <a:pt x="898524" y="3030537"/>
                      </a:cubicBezTo>
                      <a:cubicBezTo>
                        <a:pt x="898524" y="3048949"/>
                        <a:pt x="912739" y="3063875"/>
                        <a:pt x="930274" y="3063875"/>
                      </a:cubicBezTo>
                      <a:cubicBezTo>
                        <a:pt x="947809" y="3063875"/>
                        <a:pt x="962024" y="3048949"/>
                        <a:pt x="962024" y="3030537"/>
                      </a:cubicBezTo>
                      <a:cubicBezTo>
                        <a:pt x="962024" y="3012125"/>
                        <a:pt x="947809" y="2997199"/>
                        <a:pt x="930274" y="2997199"/>
                      </a:cubicBezTo>
                      <a:close/>
                      <a:moveTo>
                        <a:pt x="930275" y="2874962"/>
                      </a:moveTo>
                      <a:cubicBezTo>
                        <a:pt x="1015320" y="2874962"/>
                        <a:pt x="1084263" y="2944260"/>
                        <a:pt x="1084263" y="3029744"/>
                      </a:cubicBezTo>
                      <a:cubicBezTo>
                        <a:pt x="1084263" y="3115228"/>
                        <a:pt x="1015320" y="3184526"/>
                        <a:pt x="930275" y="3184526"/>
                      </a:cubicBezTo>
                      <a:cubicBezTo>
                        <a:pt x="845230" y="3184526"/>
                        <a:pt x="776287" y="3115228"/>
                        <a:pt x="776287" y="3029744"/>
                      </a:cubicBezTo>
                      <a:cubicBezTo>
                        <a:pt x="776287" y="2944260"/>
                        <a:pt x="845230" y="2874962"/>
                        <a:pt x="930275" y="2874962"/>
                      </a:cubicBezTo>
                      <a:close/>
                      <a:moveTo>
                        <a:pt x="122238" y="2844800"/>
                      </a:moveTo>
                      <a:lnTo>
                        <a:pt x="122238" y="2858922"/>
                      </a:lnTo>
                      <a:lnTo>
                        <a:pt x="122238" y="2919914"/>
                      </a:lnTo>
                      <a:lnTo>
                        <a:pt x="122238" y="2937881"/>
                      </a:lnTo>
                      <a:lnTo>
                        <a:pt x="122238" y="2976361"/>
                      </a:lnTo>
                      <a:lnTo>
                        <a:pt x="122238" y="2994458"/>
                      </a:lnTo>
                      <a:lnTo>
                        <a:pt x="122238" y="3016807"/>
                      </a:lnTo>
                      <a:lnTo>
                        <a:pt x="122238" y="3032384"/>
                      </a:lnTo>
                      <a:lnTo>
                        <a:pt x="122238" y="3043919"/>
                      </a:lnTo>
                      <a:lnTo>
                        <a:pt x="122238" y="3055388"/>
                      </a:lnTo>
                      <a:cubicBezTo>
                        <a:pt x="122238" y="3060983"/>
                        <a:pt x="122238" y="3064714"/>
                        <a:pt x="122238" y="3067200"/>
                      </a:cubicBezTo>
                      <a:lnTo>
                        <a:pt x="122238" y="3068809"/>
                      </a:lnTo>
                      <a:lnTo>
                        <a:pt x="122238" y="3072174"/>
                      </a:lnTo>
                      <a:cubicBezTo>
                        <a:pt x="122238" y="3154201"/>
                        <a:pt x="189194" y="3221038"/>
                        <a:pt x="268324" y="3221038"/>
                      </a:cubicBezTo>
                      <a:cubicBezTo>
                        <a:pt x="1589184" y="3221038"/>
                        <a:pt x="1589184" y="3221038"/>
                        <a:pt x="1589184" y="3221038"/>
                      </a:cubicBezTo>
                      <a:cubicBezTo>
                        <a:pt x="1671357" y="3221038"/>
                        <a:pt x="1738313" y="3154201"/>
                        <a:pt x="1738313" y="3072174"/>
                      </a:cubicBezTo>
                      <a:lnTo>
                        <a:pt x="1738313" y="2997250"/>
                      </a:lnTo>
                      <a:lnTo>
                        <a:pt x="1738313" y="2940804"/>
                      </a:lnTo>
                      <a:lnTo>
                        <a:pt x="1738313" y="2900358"/>
                      </a:lnTo>
                      <a:lnTo>
                        <a:pt x="1738313" y="2873246"/>
                      </a:lnTo>
                      <a:lnTo>
                        <a:pt x="1738313" y="2848356"/>
                      </a:lnTo>
                      <a:lnTo>
                        <a:pt x="1738313" y="2844800"/>
                      </a:lnTo>
                      <a:close/>
                      <a:moveTo>
                        <a:pt x="122238" y="461963"/>
                      </a:moveTo>
                      <a:lnTo>
                        <a:pt x="122238" y="525582"/>
                      </a:lnTo>
                      <a:cubicBezTo>
                        <a:pt x="122238" y="1639716"/>
                        <a:pt x="122238" y="2266416"/>
                        <a:pt x="122238" y="2618936"/>
                      </a:cubicBezTo>
                      <a:lnTo>
                        <a:pt x="122238" y="2722563"/>
                      </a:lnTo>
                      <a:lnTo>
                        <a:pt x="169032" y="2722563"/>
                      </a:lnTo>
                      <a:cubicBezTo>
                        <a:pt x="1096639" y="2722563"/>
                        <a:pt x="1515558" y="2722563"/>
                        <a:pt x="1704747" y="2722563"/>
                      </a:cubicBezTo>
                      <a:lnTo>
                        <a:pt x="1738313" y="2722563"/>
                      </a:lnTo>
                      <a:lnTo>
                        <a:pt x="1738313" y="2521894"/>
                      </a:lnTo>
                      <a:cubicBezTo>
                        <a:pt x="1738313" y="1330298"/>
                        <a:pt x="1738313" y="769547"/>
                        <a:pt x="1738313" y="505665"/>
                      </a:cubicBezTo>
                      <a:lnTo>
                        <a:pt x="1738313" y="461963"/>
                      </a:lnTo>
                      <a:lnTo>
                        <a:pt x="1691518" y="461963"/>
                      </a:lnTo>
                      <a:cubicBezTo>
                        <a:pt x="763911" y="461963"/>
                        <a:pt x="344992" y="461963"/>
                        <a:pt x="155803" y="461963"/>
                      </a:cubicBezTo>
                      <a:close/>
                      <a:moveTo>
                        <a:pt x="721442" y="169863"/>
                      </a:moveTo>
                      <a:cubicBezTo>
                        <a:pt x="1072433" y="169863"/>
                        <a:pt x="1072433" y="169863"/>
                        <a:pt x="1072433" y="169863"/>
                      </a:cubicBezTo>
                      <a:cubicBezTo>
                        <a:pt x="1106006" y="169863"/>
                        <a:pt x="1133475" y="197367"/>
                        <a:pt x="1133475" y="230982"/>
                      </a:cubicBezTo>
                      <a:cubicBezTo>
                        <a:pt x="1133475" y="264598"/>
                        <a:pt x="1106006" y="292101"/>
                        <a:pt x="1072433" y="292101"/>
                      </a:cubicBezTo>
                      <a:cubicBezTo>
                        <a:pt x="721442" y="292101"/>
                        <a:pt x="721442" y="292101"/>
                        <a:pt x="721442" y="292101"/>
                      </a:cubicBezTo>
                      <a:cubicBezTo>
                        <a:pt x="687869" y="292101"/>
                        <a:pt x="660400" y="264598"/>
                        <a:pt x="660400" y="230982"/>
                      </a:cubicBezTo>
                      <a:cubicBezTo>
                        <a:pt x="660400" y="197367"/>
                        <a:pt x="687869" y="169863"/>
                        <a:pt x="721442" y="169863"/>
                      </a:cubicBezTo>
                      <a:close/>
                      <a:moveTo>
                        <a:pt x="1281907" y="149225"/>
                      </a:moveTo>
                      <a:cubicBezTo>
                        <a:pt x="1327060" y="149225"/>
                        <a:pt x="1363664" y="185118"/>
                        <a:pt x="1363664" y="229394"/>
                      </a:cubicBezTo>
                      <a:cubicBezTo>
                        <a:pt x="1363664" y="273670"/>
                        <a:pt x="1327060" y="309563"/>
                        <a:pt x="1281907" y="309563"/>
                      </a:cubicBezTo>
                      <a:cubicBezTo>
                        <a:pt x="1236754" y="309563"/>
                        <a:pt x="1200150" y="273670"/>
                        <a:pt x="1200150" y="229394"/>
                      </a:cubicBezTo>
                      <a:cubicBezTo>
                        <a:pt x="1200150" y="185118"/>
                        <a:pt x="1236754" y="149225"/>
                        <a:pt x="1281907" y="149225"/>
                      </a:cubicBezTo>
                      <a:close/>
                      <a:moveTo>
                        <a:pt x="268324" y="122238"/>
                      </a:moveTo>
                      <a:cubicBezTo>
                        <a:pt x="189194" y="122238"/>
                        <a:pt x="122238" y="189178"/>
                        <a:pt x="122238" y="271331"/>
                      </a:cubicBezTo>
                      <a:lnTo>
                        <a:pt x="122238" y="341313"/>
                      </a:lnTo>
                      <a:cubicBezTo>
                        <a:pt x="1738313" y="341313"/>
                        <a:pt x="1738313" y="341313"/>
                        <a:pt x="1738313" y="341313"/>
                      </a:cubicBezTo>
                      <a:lnTo>
                        <a:pt x="1738313" y="314869"/>
                      </a:lnTo>
                      <a:lnTo>
                        <a:pt x="1738313" y="300855"/>
                      </a:lnTo>
                      <a:lnTo>
                        <a:pt x="1738313" y="289566"/>
                      </a:lnTo>
                      <a:lnTo>
                        <a:pt x="1738313" y="280079"/>
                      </a:lnTo>
                      <a:lnTo>
                        <a:pt x="1738313" y="276573"/>
                      </a:lnTo>
                      <a:lnTo>
                        <a:pt x="1738313" y="271331"/>
                      </a:lnTo>
                      <a:cubicBezTo>
                        <a:pt x="1738313" y="189178"/>
                        <a:pt x="1671357" y="122238"/>
                        <a:pt x="1589184" y="122238"/>
                      </a:cubicBezTo>
                      <a:lnTo>
                        <a:pt x="1469183" y="122238"/>
                      </a:lnTo>
                      <a:lnTo>
                        <a:pt x="1356679" y="122238"/>
                      </a:lnTo>
                      <a:lnTo>
                        <a:pt x="1153197" y="122238"/>
                      </a:lnTo>
                      <a:lnTo>
                        <a:pt x="976803" y="122238"/>
                      </a:lnTo>
                      <a:lnTo>
                        <a:pt x="825562" y="122238"/>
                      </a:lnTo>
                      <a:lnTo>
                        <a:pt x="697539" y="122238"/>
                      </a:lnTo>
                      <a:lnTo>
                        <a:pt x="590799" y="122238"/>
                      </a:lnTo>
                      <a:lnTo>
                        <a:pt x="503408" y="122238"/>
                      </a:lnTo>
                      <a:lnTo>
                        <a:pt x="433431" y="122238"/>
                      </a:lnTo>
                      <a:lnTo>
                        <a:pt x="378933" y="122238"/>
                      </a:lnTo>
                      <a:lnTo>
                        <a:pt x="337979" y="122238"/>
                      </a:lnTo>
                      <a:lnTo>
                        <a:pt x="308633" y="122238"/>
                      </a:lnTo>
                      <a:lnTo>
                        <a:pt x="288962" y="122238"/>
                      </a:lnTo>
                      <a:lnTo>
                        <a:pt x="277031" y="122238"/>
                      </a:lnTo>
                      <a:lnTo>
                        <a:pt x="270904" y="122238"/>
                      </a:lnTo>
                      <a:close/>
                      <a:moveTo>
                        <a:pt x="267968" y="0"/>
                      </a:moveTo>
                      <a:cubicBezTo>
                        <a:pt x="1589537" y="0"/>
                        <a:pt x="1589537" y="0"/>
                        <a:pt x="1589537" y="0"/>
                      </a:cubicBezTo>
                      <a:cubicBezTo>
                        <a:pt x="1738747" y="0"/>
                        <a:pt x="1860550" y="121569"/>
                        <a:pt x="1860550" y="270492"/>
                      </a:cubicBezTo>
                      <a:lnTo>
                        <a:pt x="1860550" y="270501"/>
                      </a:lnTo>
                      <a:lnTo>
                        <a:pt x="1860550" y="461963"/>
                      </a:lnTo>
                      <a:lnTo>
                        <a:pt x="1860550" y="525090"/>
                      </a:lnTo>
                      <a:cubicBezTo>
                        <a:pt x="1860550" y="1639702"/>
                        <a:pt x="1860550" y="2266671"/>
                        <a:pt x="1860550" y="2619341"/>
                      </a:cubicBezTo>
                      <a:lnTo>
                        <a:pt x="1860550" y="2722563"/>
                      </a:lnTo>
                      <a:lnTo>
                        <a:pt x="1860550" y="2754314"/>
                      </a:lnTo>
                      <a:lnTo>
                        <a:pt x="1860550" y="2838062"/>
                      </a:lnTo>
                      <a:lnTo>
                        <a:pt x="1860550" y="2859431"/>
                      </a:lnTo>
                      <a:lnTo>
                        <a:pt x="1860550" y="2924856"/>
                      </a:lnTo>
                      <a:lnTo>
                        <a:pt x="1860550" y="2938424"/>
                      </a:lnTo>
                      <a:lnTo>
                        <a:pt x="1860550" y="2987047"/>
                      </a:lnTo>
                      <a:lnTo>
                        <a:pt x="1860550" y="2995025"/>
                      </a:lnTo>
                      <a:lnTo>
                        <a:pt x="1860550" y="3028736"/>
                      </a:lnTo>
                      <a:lnTo>
                        <a:pt x="1860550" y="3032967"/>
                      </a:lnTo>
                      <a:lnTo>
                        <a:pt x="1860550" y="3054023"/>
                      </a:lnTo>
                      <a:lnTo>
                        <a:pt x="1860550" y="3055980"/>
                      </a:lnTo>
                      <a:lnTo>
                        <a:pt x="1860550" y="3067008"/>
                      </a:lnTo>
                      <a:lnTo>
                        <a:pt x="1860550" y="3067798"/>
                      </a:lnTo>
                      <a:lnTo>
                        <a:pt x="1860550" y="3072475"/>
                      </a:lnTo>
                      <a:lnTo>
                        <a:pt x="1860550" y="3072774"/>
                      </a:lnTo>
                      <a:cubicBezTo>
                        <a:pt x="1860550" y="3184470"/>
                        <a:pt x="1792036" y="3280779"/>
                        <a:pt x="1694831" y="3321952"/>
                      </a:cubicBezTo>
                      <a:lnTo>
                        <a:pt x="1593989" y="3342374"/>
                      </a:lnTo>
                      <a:lnTo>
                        <a:pt x="1589537" y="3343276"/>
                      </a:lnTo>
                      <a:cubicBezTo>
                        <a:pt x="267968" y="3343276"/>
                        <a:pt x="267968" y="3343276"/>
                        <a:pt x="267968" y="3343276"/>
                      </a:cubicBezTo>
                      <a:lnTo>
                        <a:pt x="263590" y="3342374"/>
                      </a:lnTo>
                      <a:lnTo>
                        <a:pt x="164435" y="3321952"/>
                      </a:lnTo>
                      <a:cubicBezTo>
                        <a:pt x="68515" y="3280779"/>
                        <a:pt x="0" y="3184470"/>
                        <a:pt x="0" y="3072774"/>
                      </a:cubicBezTo>
                      <a:lnTo>
                        <a:pt x="0" y="3072475"/>
                      </a:lnTo>
                      <a:lnTo>
                        <a:pt x="0" y="2956977"/>
                      </a:lnTo>
                      <a:lnTo>
                        <a:pt x="0" y="2870182"/>
                      </a:lnTo>
                      <a:lnTo>
                        <a:pt x="0" y="2807991"/>
                      </a:lnTo>
                      <a:lnTo>
                        <a:pt x="0" y="2787491"/>
                      </a:lnTo>
                      <a:lnTo>
                        <a:pt x="0" y="2766302"/>
                      </a:lnTo>
                      <a:lnTo>
                        <a:pt x="0" y="2741016"/>
                      </a:lnTo>
                      <a:lnTo>
                        <a:pt x="0" y="2728031"/>
                      </a:lnTo>
                      <a:lnTo>
                        <a:pt x="0" y="2722563"/>
                      </a:lnTo>
                      <a:lnTo>
                        <a:pt x="0" y="2522258"/>
                      </a:lnTo>
                      <a:cubicBezTo>
                        <a:pt x="0" y="1330151"/>
                        <a:pt x="0" y="769160"/>
                        <a:pt x="0" y="505164"/>
                      </a:cubicBezTo>
                      <a:lnTo>
                        <a:pt x="0" y="461963"/>
                      </a:lnTo>
                      <a:lnTo>
                        <a:pt x="0" y="418277"/>
                      </a:lnTo>
                      <a:lnTo>
                        <a:pt x="0" y="398763"/>
                      </a:lnTo>
                      <a:lnTo>
                        <a:pt x="0" y="356020"/>
                      </a:lnTo>
                      <a:lnTo>
                        <a:pt x="0" y="351269"/>
                      </a:lnTo>
                      <a:lnTo>
                        <a:pt x="0" y="314287"/>
                      </a:lnTo>
                      <a:lnTo>
                        <a:pt x="0" y="294426"/>
                      </a:lnTo>
                      <a:lnTo>
                        <a:pt x="0" y="288973"/>
                      </a:lnTo>
                      <a:cubicBezTo>
                        <a:pt x="0" y="282816"/>
                        <a:pt x="0" y="278711"/>
                        <a:pt x="0" y="275975"/>
                      </a:cubicBezTo>
                      <a:lnTo>
                        <a:pt x="0" y="273484"/>
                      </a:lnTo>
                      <a:lnTo>
                        <a:pt x="0" y="270501"/>
                      </a:lnTo>
                      <a:lnTo>
                        <a:pt x="0" y="270492"/>
                      </a:lnTo>
                      <a:cubicBezTo>
                        <a:pt x="0" y="121569"/>
                        <a:pt x="121804" y="0"/>
                        <a:pt x="267968" y="0"/>
                      </a:cubicBezTo>
                      <a:close/>
                    </a:path>
                  </a:pathLst>
                </a:custGeom>
                <a:solidFill>
                  <a:srgbClr val="0078D7"/>
                </a:solidFill>
                <a:ln>
                  <a:noFill/>
                </a:ln>
              </p:spPr>
              <p:txBody>
                <a:bodyPr vert="horz" wrap="square" lIns="91427" tIns="45713" rIns="91427" bIns="45713" numCol="1" anchor="t" anchorCtr="0" compatLnSpc="1">
                  <a:prstTxWarp prst="textNoShape">
                    <a:avLst/>
                  </a:prstTxWarp>
                  <a:noAutofit/>
                </a:bodyPr>
                <a:lstStyle/>
                <a:p>
                  <a:pPr defTabSz="914225">
                    <a:defRPr/>
                  </a:pPr>
                  <a:endParaRPr lang="en-US" kern="0" dirty="0">
                    <a:solidFill>
                      <a:srgbClr val="FFFFFF"/>
                    </a:solidFill>
                    <a:latin typeface="Segoe UI"/>
                  </a:endParaRPr>
                </a:p>
              </p:txBody>
            </p:sp>
            <p:sp>
              <p:nvSpPr>
                <p:cNvPr id="21" name="Freeform 20"/>
                <p:cNvSpPr/>
                <p:nvPr/>
              </p:nvSpPr>
              <p:spPr bwMode="auto">
                <a:xfrm>
                  <a:off x="10884687" y="4165112"/>
                  <a:ext cx="248428" cy="140196"/>
                </a:xfrm>
                <a:custGeom>
                  <a:avLst/>
                  <a:gdLst>
                    <a:gd name="connsiteX0" fmla="*/ 5333671 w 7645936"/>
                    <a:gd name="connsiteY0" fmla="*/ 2643510 h 4314825"/>
                    <a:gd name="connsiteX1" fmla="*/ 5193195 w 7645936"/>
                    <a:gd name="connsiteY1" fmla="*/ 2783986 h 4314825"/>
                    <a:gd name="connsiteX2" fmla="*/ 5193195 w 7645936"/>
                    <a:gd name="connsiteY2" fmla="*/ 3723500 h 4314825"/>
                    <a:gd name="connsiteX3" fmla="*/ 5333671 w 7645936"/>
                    <a:gd name="connsiteY3" fmla="*/ 3863976 h 4314825"/>
                    <a:gd name="connsiteX4" fmla="*/ 5421017 w 7645936"/>
                    <a:gd name="connsiteY4" fmla="*/ 3863976 h 4314825"/>
                    <a:gd name="connsiteX5" fmla="*/ 5561493 w 7645936"/>
                    <a:gd name="connsiteY5" fmla="*/ 3723500 h 4314825"/>
                    <a:gd name="connsiteX6" fmla="*/ 5561493 w 7645936"/>
                    <a:gd name="connsiteY6" fmla="*/ 2783986 h 4314825"/>
                    <a:gd name="connsiteX7" fmla="*/ 5421017 w 7645936"/>
                    <a:gd name="connsiteY7" fmla="*/ 2643510 h 4314825"/>
                    <a:gd name="connsiteX8" fmla="*/ 4527329 w 7645936"/>
                    <a:gd name="connsiteY8" fmla="*/ 2643510 h 4314825"/>
                    <a:gd name="connsiteX9" fmla="*/ 4386853 w 7645936"/>
                    <a:gd name="connsiteY9" fmla="*/ 2783986 h 4314825"/>
                    <a:gd name="connsiteX10" fmla="*/ 4386853 w 7645936"/>
                    <a:gd name="connsiteY10" fmla="*/ 3723500 h 4314825"/>
                    <a:gd name="connsiteX11" fmla="*/ 4527329 w 7645936"/>
                    <a:gd name="connsiteY11" fmla="*/ 3863976 h 4314825"/>
                    <a:gd name="connsiteX12" fmla="*/ 4614675 w 7645936"/>
                    <a:gd name="connsiteY12" fmla="*/ 3863976 h 4314825"/>
                    <a:gd name="connsiteX13" fmla="*/ 4755151 w 7645936"/>
                    <a:gd name="connsiteY13" fmla="*/ 3723500 h 4314825"/>
                    <a:gd name="connsiteX14" fmla="*/ 4755151 w 7645936"/>
                    <a:gd name="connsiteY14" fmla="*/ 2783986 h 4314825"/>
                    <a:gd name="connsiteX15" fmla="*/ 4614675 w 7645936"/>
                    <a:gd name="connsiteY15" fmla="*/ 2643510 h 4314825"/>
                    <a:gd name="connsiteX16" fmla="*/ 3720987 w 7645936"/>
                    <a:gd name="connsiteY16" fmla="*/ 2643510 h 4314825"/>
                    <a:gd name="connsiteX17" fmla="*/ 3580511 w 7645936"/>
                    <a:gd name="connsiteY17" fmla="*/ 2783986 h 4314825"/>
                    <a:gd name="connsiteX18" fmla="*/ 3580511 w 7645936"/>
                    <a:gd name="connsiteY18" fmla="*/ 3723500 h 4314825"/>
                    <a:gd name="connsiteX19" fmla="*/ 3720987 w 7645936"/>
                    <a:gd name="connsiteY19" fmla="*/ 3863976 h 4314825"/>
                    <a:gd name="connsiteX20" fmla="*/ 3808333 w 7645936"/>
                    <a:gd name="connsiteY20" fmla="*/ 3863976 h 4314825"/>
                    <a:gd name="connsiteX21" fmla="*/ 3948809 w 7645936"/>
                    <a:gd name="connsiteY21" fmla="*/ 3723500 h 4314825"/>
                    <a:gd name="connsiteX22" fmla="*/ 3948809 w 7645936"/>
                    <a:gd name="connsiteY22" fmla="*/ 2783986 h 4314825"/>
                    <a:gd name="connsiteX23" fmla="*/ 3808333 w 7645936"/>
                    <a:gd name="connsiteY23" fmla="*/ 2643510 h 4314825"/>
                    <a:gd name="connsiteX24" fmla="*/ 2914644 w 7645936"/>
                    <a:gd name="connsiteY24" fmla="*/ 2643510 h 4314825"/>
                    <a:gd name="connsiteX25" fmla="*/ 2774168 w 7645936"/>
                    <a:gd name="connsiteY25" fmla="*/ 2783986 h 4314825"/>
                    <a:gd name="connsiteX26" fmla="*/ 2774168 w 7645936"/>
                    <a:gd name="connsiteY26" fmla="*/ 3723500 h 4314825"/>
                    <a:gd name="connsiteX27" fmla="*/ 2914644 w 7645936"/>
                    <a:gd name="connsiteY27" fmla="*/ 3863976 h 4314825"/>
                    <a:gd name="connsiteX28" fmla="*/ 3001990 w 7645936"/>
                    <a:gd name="connsiteY28" fmla="*/ 3863976 h 4314825"/>
                    <a:gd name="connsiteX29" fmla="*/ 3142466 w 7645936"/>
                    <a:gd name="connsiteY29" fmla="*/ 3723500 h 4314825"/>
                    <a:gd name="connsiteX30" fmla="*/ 3142466 w 7645936"/>
                    <a:gd name="connsiteY30" fmla="*/ 2783986 h 4314825"/>
                    <a:gd name="connsiteX31" fmla="*/ 3001990 w 7645936"/>
                    <a:gd name="connsiteY31" fmla="*/ 2643510 h 4314825"/>
                    <a:gd name="connsiteX32" fmla="*/ 2108301 w 7645936"/>
                    <a:gd name="connsiteY32" fmla="*/ 2643510 h 4314825"/>
                    <a:gd name="connsiteX33" fmla="*/ 1967825 w 7645936"/>
                    <a:gd name="connsiteY33" fmla="*/ 2783986 h 4314825"/>
                    <a:gd name="connsiteX34" fmla="*/ 1967825 w 7645936"/>
                    <a:gd name="connsiteY34" fmla="*/ 3723500 h 4314825"/>
                    <a:gd name="connsiteX35" fmla="*/ 2108301 w 7645936"/>
                    <a:gd name="connsiteY35" fmla="*/ 3863976 h 4314825"/>
                    <a:gd name="connsiteX36" fmla="*/ 2195647 w 7645936"/>
                    <a:gd name="connsiteY36" fmla="*/ 3863976 h 4314825"/>
                    <a:gd name="connsiteX37" fmla="*/ 2336123 w 7645936"/>
                    <a:gd name="connsiteY37" fmla="*/ 3723500 h 4314825"/>
                    <a:gd name="connsiteX38" fmla="*/ 2336123 w 7645936"/>
                    <a:gd name="connsiteY38" fmla="*/ 2783986 h 4314825"/>
                    <a:gd name="connsiteX39" fmla="*/ 2195647 w 7645936"/>
                    <a:gd name="connsiteY39" fmla="*/ 2643510 h 4314825"/>
                    <a:gd name="connsiteX40" fmla="*/ 5312536 w 7645936"/>
                    <a:gd name="connsiteY40" fmla="*/ 2564132 h 4314825"/>
                    <a:gd name="connsiteX41" fmla="*/ 5442152 w 7645936"/>
                    <a:gd name="connsiteY41" fmla="*/ 2564132 h 4314825"/>
                    <a:gd name="connsiteX42" fmla="*/ 5650609 w 7645936"/>
                    <a:gd name="connsiteY42" fmla="*/ 2772589 h 4314825"/>
                    <a:gd name="connsiteX43" fmla="*/ 5650609 w 7645936"/>
                    <a:gd name="connsiteY43" fmla="*/ 3734896 h 4314825"/>
                    <a:gd name="connsiteX44" fmla="*/ 5442152 w 7645936"/>
                    <a:gd name="connsiteY44" fmla="*/ 3943353 h 4314825"/>
                    <a:gd name="connsiteX45" fmla="*/ 5312536 w 7645936"/>
                    <a:gd name="connsiteY45" fmla="*/ 3943353 h 4314825"/>
                    <a:gd name="connsiteX46" fmla="*/ 5104079 w 7645936"/>
                    <a:gd name="connsiteY46" fmla="*/ 3734896 h 4314825"/>
                    <a:gd name="connsiteX47" fmla="*/ 5104079 w 7645936"/>
                    <a:gd name="connsiteY47" fmla="*/ 2772589 h 4314825"/>
                    <a:gd name="connsiteX48" fmla="*/ 5312536 w 7645936"/>
                    <a:gd name="connsiteY48" fmla="*/ 2564132 h 4314825"/>
                    <a:gd name="connsiteX49" fmla="*/ 4506194 w 7645936"/>
                    <a:gd name="connsiteY49" fmla="*/ 2564132 h 4314825"/>
                    <a:gd name="connsiteX50" fmla="*/ 4635810 w 7645936"/>
                    <a:gd name="connsiteY50" fmla="*/ 2564132 h 4314825"/>
                    <a:gd name="connsiteX51" fmla="*/ 4844267 w 7645936"/>
                    <a:gd name="connsiteY51" fmla="*/ 2772589 h 4314825"/>
                    <a:gd name="connsiteX52" fmla="*/ 4844267 w 7645936"/>
                    <a:gd name="connsiteY52" fmla="*/ 3734896 h 4314825"/>
                    <a:gd name="connsiteX53" fmla="*/ 4635810 w 7645936"/>
                    <a:gd name="connsiteY53" fmla="*/ 3943353 h 4314825"/>
                    <a:gd name="connsiteX54" fmla="*/ 4506194 w 7645936"/>
                    <a:gd name="connsiteY54" fmla="*/ 3943353 h 4314825"/>
                    <a:gd name="connsiteX55" fmla="*/ 4297737 w 7645936"/>
                    <a:gd name="connsiteY55" fmla="*/ 3734896 h 4314825"/>
                    <a:gd name="connsiteX56" fmla="*/ 4297737 w 7645936"/>
                    <a:gd name="connsiteY56" fmla="*/ 2772589 h 4314825"/>
                    <a:gd name="connsiteX57" fmla="*/ 4506194 w 7645936"/>
                    <a:gd name="connsiteY57" fmla="*/ 2564132 h 4314825"/>
                    <a:gd name="connsiteX58" fmla="*/ 3699852 w 7645936"/>
                    <a:gd name="connsiteY58" fmla="*/ 2564132 h 4314825"/>
                    <a:gd name="connsiteX59" fmla="*/ 3829468 w 7645936"/>
                    <a:gd name="connsiteY59" fmla="*/ 2564132 h 4314825"/>
                    <a:gd name="connsiteX60" fmla="*/ 4037925 w 7645936"/>
                    <a:gd name="connsiteY60" fmla="*/ 2772589 h 4314825"/>
                    <a:gd name="connsiteX61" fmla="*/ 4037925 w 7645936"/>
                    <a:gd name="connsiteY61" fmla="*/ 3734896 h 4314825"/>
                    <a:gd name="connsiteX62" fmla="*/ 3829468 w 7645936"/>
                    <a:gd name="connsiteY62" fmla="*/ 3943353 h 4314825"/>
                    <a:gd name="connsiteX63" fmla="*/ 3699852 w 7645936"/>
                    <a:gd name="connsiteY63" fmla="*/ 3943353 h 4314825"/>
                    <a:gd name="connsiteX64" fmla="*/ 3491395 w 7645936"/>
                    <a:gd name="connsiteY64" fmla="*/ 3734896 h 4314825"/>
                    <a:gd name="connsiteX65" fmla="*/ 3491395 w 7645936"/>
                    <a:gd name="connsiteY65" fmla="*/ 2772589 h 4314825"/>
                    <a:gd name="connsiteX66" fmla="*/ 3699852 w 7645936"/>
                    <a:gd name="connsiteY66" fmla="*/ 2564132 h 4314825"/>
                    <a:gd name="connsiteX67" fmla="*/ 2893509 w 7645936"/>
                    <a:gd name="connsiteY67" fmla="*/ 2564132 h 4314825"/>
                    <a:gd name="connsiteX68" fmla="*/ 3023125 w 7645936"/>
                    <a:gd name="connsiteY68" fmla="*/ 2564132 h 4314825"/>
                    <a:gd name="connsiteX69" fmla="*/ 3231582 w 7645936"/>
                    <a:gd name="connsiteY69" fmla="*/ 2772589 h 4314825"/>
                    <a:gd name="connsiteX70" fmla="*/ 3231582 w 7645936"/>
                    <a:gd name="connsiteY70" fmla="*/ 3734896 h 4314825"/>
                    <a:gd name="connsiteX71" fmla="*/ 3023125 w 7645936"/>
                    <a:gd name="connsiteY71" fmla="*/ 3943353 h 4314825"/>
                    <a:gd name="connsiteX72" fmla="*/ 2893509 w 7645936"/>
                    <a:gd name="connsiteY72" fmla="*/ 3943353 h 4314825"/>
                    <a:gd name="connsiteX73" fmla="*/ 2685052 w 7645936"/>
                    <a:gd name="connsiteY73" fmla="*/ 3734896 h 4314825"/>
                    <a:gd name="connsiteX74" fmla="*/ 2685052 w 7645936"/>
                    <a:gd name="connsiteY74" fmla="*/ 2772589 h 4314825"/>
                    <a:gd name="connsiteX75" fmla="*/ 2893509 w 7645936"/>
                    <a:gd name="connsiteY75" fmla="*/ 2564132 h 4314825"/>
                    <a:gd name="connsiteX76" fmla="*/ 2087166 w 7645936"/>
                    <a:gd name="connsiteY76" fmla="*/ 2564132 h 4314825"/>
                    <a:gd name="connsiteX77" fmla="*/ 2216782 w 7645936"/>
                    <a:gd name="connsiteY77" fmla="*/ 2564132 h 4314825"/>
                    <a:gd name="connsiteX78" fmla="*/ 2425239 w 7645936"/>
                    <a:gd name="connsiteY78" fmla="*/ 2772589 h 4314825"/>
                    <a:gd name="connsiteX79" fmla="*/ 2425239 w 7645936"/>
                    <a:gd name="connsiteY79" fmla="*/ 3734896 h 4314825"/>
                    <a:gd name="connsiteX80" fmla="*/ 2216782 w 7645936"/>
                    <a:gd name="connsiteY80" fmla="*/ 3943353 h 4314825"/>
                    <a:gd name="connsiteX81" fmla="*/ 2087166 w 7645936"/>
                    <a:gd name="connsiteY81" fmla="*/ 3943353 h 4314825"/>
                    <a:gd name="connsiteX82" fmla="*/ 1878709 w 7645936"/>
                    <a:gd name="connsiteY82" fmla="*/ 3734896 h 4314825"/>
                    <a:gd name="connsiteX83" fmla="*/ 1878709 w 7645936"/>
                    <a:gd name="connsiteY83" fmla="*/ 2772589 h 4314825"/>
                    <a:gd name="connsiteX84" fmla="*/ 2087166 w 7645936"/>
                    <a:gd name="connsiteY84" fmla="*/ 2564132 h 4314825"/>
                    <a:gd name="connsiteX85" fmla="*/ 5082919 w 7645936"/>
                    <a:gd name="connsiteY85" fmla="*/ 775812 h 4314825"/>
                    <a:gd name="connsiteX86" fmla="*/ 4576665 w 7645936"/>
                    <a:gd name="connsiteY86" fmla="*/ 1282066 h 4314825"/>
                    <a:gd name="connsiteX87" fmla="*/ 5082919 w 7645936"/>
                    <a:gd name="connsiteY87" fmla="*/ 1788320 h 4314825"/>
                    <a:gd name="connsiteX88" fmla="*/ 5589173 w 7645936"/>
                    <a:gd name="connsiteY88" fmla="*/ 1282066 h 4314825"/>
                    <a:gd name="connsiteX89" fmla="*/ 5082919 w 7645936"/>
                    <a:gd name="connsiteY89" fmla="*/ 775812 h 4314825"/>
                    <a:gd name="connsiteX90" fmla="*/ 2408299 w 7645936"/>
                    <a:gd name="connsiteY90" fmla="*/ 775812 h 4314825"/>
                    <a:gd name="connsiteX91" fmla="*/ 1902046 w 7645936"/>
                    <a:gd name="connsiteY91" fmla="*/ 1282066 h 4314825"/>
                    <a:gd name="connsiteX92" fmla="*/ 2408299 w 7645936"/>
                    <a:gd name="connsiteY92" fmla="*/ 1788320 h 4314825"/>
                    <a:gd name="connsiteX93" fmla="*/ 2914553 w 7645936"/>
                    <a:gd name="connsiteY93" fmla="*/ 1282066 h 4314825"/>
                    <a:gd name="connsiteX94" fmla="*/ 2408299 w 7645936"/>
                    <a:gd name="connsiteY94" fmla="*/ 775812 h 4314825"/>
                    <a:gd name="connsiteX95" fmla="*/ 5082919 w 7645936"/>
                    <a:gd name="connsiteY95" fmla="*/ 661036 h 4314825"/>
                    <a:gd name="connsiteX96" fmla="*/ 5703949 w 7645936"/>
                    <a:gd name="connsiteY96" fmla="*/ 1282066 h 4314825"/>
                    <a:gd name="connsiteX97" fmla="*/ 5082919 w 7645936"/>
                    <a:gd name="connsiteY97" fmla="*/ 1903096 h 4314825"/>
                    <a:gd name="connsiteX98" fmla="*/ 4461889 w 7645936"/>
                    <a:gd name="connsiteY98" fmla="*/ 1282066 h 4314825"/>
                    <a:gd name="connsiteX99" fmla="*/ 5082919 w 7645936"/>
                    <a:gd name="connsiteY99" fmla="*/ 661036 h 4314825"/>
                    <a:gd name="connsiteX100" fmla="*/ 2408299 w 7645936"/>
                    <a:gd name="connsiteY100" fmla="*/ 661036 h 4314825"/>
                    <a:gd name="connsiteX101" fmla="*/ 3029329 w 7645936"/>
                    <a:gd name="connsiteY101" fmla="*/ 1282066 h 4314825"/>
                    <a:gd name="connsiteX102" fmla="*/ 2408299 w 7645936"/>
                    <a:gd name="connsiteY102" fmla="*/ 1903096 h 4314825"/>
                    <a:gd name="connsiteX103" fmla="*/ 1787269 w 7645936"/>
                    <a:gd name="connsiteY103" fmla="*/ 1282066 h 4314825"/>
                    <a:gd name="connsiteX104" fmla="*/ 2408299 w 7645936"/>
                    <a:gd name="connsiteY104" fmla="*/ 661036 h 4314825"/>
                    <a:gd name="connsiteX105" fmla="*/ 1164182 w 7645936"/>
                    <a:gd name="connsiteY105" fmla="*/ 126434 h 4314825"/>
                    <a:gd name="connsiteX106" fmla="*/ 1034158 w 7645936"/>
                    <a:gd name="connsiteY106" fmla="*/ 256457 h 4314825"/>
                    <a:gd name="connsiteX107" fmla="*/ 1034158 w 7645936"/>
                    <a:gd name="connsiteY107" fmla="*/ 1603376 h 4314825"/>
                    <a:gd name="connsiteX108" fmla="*/ 879743 w 7645936"/>
                    <a:gd name="connsiteY108" fmla="*/ 1603376 h 4314825"/>
                    <a:gd name="connsiteX109" fmla="*/ 478976 w 7645936"/>
                    <a:gd name="connsiteY109" fmla="*/ 1603376 h 4314825"/>
                    <a:gd name="connsiteX110" fmla="*/ 478976 w 7645936"/>
                    <a:gd name="connsiteY110" fmla="*/ 1286475 h 4314825"/>
                    <a:gd name="connsiteX111" fmla="*/ 89830 w 7645936"/>
                    <a:gd name="connsiteY111" fmla="*/ 1286475 h 4314825"/>
                    <a:gd name="connsiteX112" fmla="*/ 89830 w 7645936"/>
                    <a:gd name="connsiteY112" fmla="*/ 2046729 h 4314825"/>
                    <a:gd name="connsiteX113" fmla="*/ 478976 w 7645936"/>
                    <a:gd name="connsiteY113" fmla="*/ 2046729 h 4314825"/>
                    <a:gd name="connsiteX114" fmla="*/ 478976 w 7645936"/>
                    <a:gd name="connsiteY114" fmla="*/ 1724026 h 4314825"/>
                    <a:gd name="connsiteX115" fmla="*/ 879743 w 7645936"/>
                    <a:gd name="connsiteY115" fmla="*/ 1724026 h 4314825"/>
                    <a:gd name="connsiteX116" fmla="*/ 1034158 w 7645936"/>
                    <a:gd name="connsiteY116" fmla="*/ 1724026 h 4314825"/>
                    <a:gd name="connsiteX117" fmla="*/ 1034158 w 7645936"/>
                    <a:gd name="connsiteY117" fmla="*/ 4058369 h 4314825"/>
                    <a:gd name="connsiteX118" fmla="*/ 1164182 w 7645936"/>
                    <a:gd name="connsiteY118" fmla="*/ 4188392 h 4314825"/>
                    <a:gd name="connsiteX119" fmla="*/ 6481755 w 7645936"/>
                    <a:gd name="connsiteY119" fmla="*/ 4188392 h 4314825"/>
                    <a:gd name="connsiteX120" fmla="*/ 6611778 w 7645936"/>
                    <a:gd name="connsiteY120" fmla="*/ 4058369 h 4314825"/>
                    <a:gd name="connsiteX121" fmla="*/ 6611778 w 7645936"/>
                    <a:gd name="connsiteY121" fmla="*/ 1724026 h 4314825"/>
                    <a:gd name="connsiteX122" fmla="*/ 6766193 w 7645936"/>
                    <a:gd name="connsiteY122" fmla="*/ 1724026 h 4314825"/>
                    <a:gd name="connsiteX123" fmla="*/ 7166960 w 7645936"/>
                    <a:gd name="connsiteY123" fmla="*/ 1724026 h 4314825"/>
                    <a:gd name="connsiteX124" fmla="*/ 7166960 w 7645936"/>
                    <a:gd name="connsiteY124" fmla="*/ 2046729 h 4314825"/>
                    <a:gd name="connsiteX125" fmla="*/ 7556106 w 7645936"/>
                    <a:gd name="connsiteY125" fmla="*/ 2046729 h 4314825"/>
                    <a:gd name="connsiteX126" fmla="*/ 7556106 w 7645936"/>
                    <a:gd name="connsiteY126" fmla="*/ 1286475 h 4314825"/>
                    <a:gd name="connsiteX127" fmla="*/ 7166960 w 7645936"/>
                    <a:gd name="connsiteY127" fmla="*/ 1286475 h 4314825"/>
                    <a:gd name="connsiteX128" fmla="*/ 7166960 w 7645936"/>
                    <a:gd name="connsiteY128" fmla="*/ 1603376 h 4314825"/>
                    <a:gd name="connsiteX129" fmla="*/ 6766193 w 7645936"/>
                    <a:gd name="connsiteY129" fmla="*/ 1603376 h 4314825"/>
                    <a:gd name="connsiteX130" fmla="*/ 6611778 w 7645936"/>
                    <a:gd name="connsiteY130" fmla="*/ 1603376 h 4314825"/>
                    <a:gd name="connsiteX131" fmla="*/ 6611778 w 7645936"/>
                    <a:gd name="connsiteY131" fmla="*/ 256457 h 4314825"/>
                    <a:gd name="connsiteX132" fmla="*/ 6481755 w 7645936"/>
                    <a:gd name="connsiteY132" fmla="*/ 126434 h 4314825"/>
                    <a:gd name="connsiteX133" fmla="*/ 1011518 w 7645936"/>
                    <a:gd name="connsiteY133" fmla="*/ 0 h 4314825"/>
                    <a:gd name="connsiteX134" fmla="*/ 6634418 w 7645936"/>
                    <a:gd name="connsiteY134" fmla="*/ 0 h 4314825"/>
                    <a:gd name="connsiteX135" fmla="*/ 6766193 w 7645936"/>
                    <a:gd name="connsiteY135" fmla="*/ 131775 h 4314825"/>
                    <a:gd name="connsiteX136" fmla="*/ 6766193 w 7645936"/>
                    <a:gd name="connsiteY136" fmla="*/ 1485987 h 4314825"/>
                    <a:gd name="connsiteX137" fmla="*/ 7077129 w 7645936"/>
                    <a:gd name="connsiteY137" fmla="*/ 1485987 h 4314825"/>
                    <a:gd name="connsiteX138" fmla="*/ 7077129 w 7645936"/>
                    <a:gd name="connsiteY138" fmla="*/ 1193887 h 4314825"/>
                    <a:gd name="connsiteX139" fmla="*/ 7645936 w 7645936"/>
                    <a:gd name="connsiteY139" fmla="*/ 1193887 h 4314825"/>
                    <a:gd name="connsiteX140" fmla="*/ 7645936 w 7645936"/>
                    <a:gd name="connsiteY140" fmla="*/ 2139317 h 4314825"/>
                    <a:gd name="connsiteX141" fmla="*/ 7077129 w 7645936"/>
                    <a:gd name="connsiteY141" fmla="*/ 2139317 h 4314825"/>
                    <a:gd name="connsiteX142" fmla="*/ 7077129 w 7645936"/>
                    <a:gd name="connsiteY142" fmla="*/ 1840719 h 4314825"/>
                    <a:gd name="connsiteX143" fmla="*/ 6766193 w 7645936"/>
                    <a:gd name="connsiteY143" fmla="*/ 1840719 h 4314825"/>
                    <a:gd name="connsiteX144" fmla="*/ 6766193 w 7645936"/>
                    <a:gd name="connsiteY144" fmla="*/ 4183050 h 4314825"/>
                    <a:gd name="connsiteX145" fmla="*/ 6634418 w 7645936"/>
                    <a:gd name="connsiteY145" fmla="*/ 4314825 h 4314825"/>
                    <a:gd name="connsiteX146" fmla="*/ 1011518 w 7645936"/>
                    <a:gd name="connsiteY146" fmla="*/ 4314825 h 4314825"/>
                    <a:gd name="connsiteX147" fmla="*/ 879743 w 7645936"/>
                    <a:gd name="connsiteY147" fmla="*/ 4183050 h 4314825"/>
                    <a:gd name="connsiteX148" fmla="*/ 879743 w 7645936"/>
                    <a:gd name="connsiteY148" fmla="*/ 1840719 h 4314825"/>
                    <a:gd name="connsiteX149" fmla="*/ 568807 w 7645936"/>
                    <a:gd name="connsiteY149" fmla="*/ 1840719 h 4314825"/>
                    <a:gd name="connsiteX150" fmla="*/ 568807 w 7645936"/>
                    <a:gd name="connsiteY150" fmla="*/ 2139317 h 4314825"/>
                    <a:gd name="connsiteX151" fmla="*/ 0 w 7645936"/>
                    <a:gd name="connsiteY151" fmla="*/ 2139317 h 4314825"/>
                    <a:gd name="connsiteX152" fmla="*/ 0 w 7645936"/>
                    <a:gd name="connsiteY152" fmla="*/ 1193887 h 4314825"/>
                    <a:gd name="connsiteX153" fmla="*/ 568807 w 7645936"/>
                    <a:gd name="connsiteY153" fmla="*/ 1193887 h 4314825"/>
                    <a:gd name="connsiteX154" fmla="*/ 568807 w 7645936"/>
                    <a:gd name="connsiteY154" fmla="*/ 1485987 h 4314825"/>
                    <a:gd name="connsiteX155" fmla="*/ 879743 w 7645936"/>
                    <a:gd name="connsiteY155" fmla="*/ 1485987 h 4314825"/>
                    <a:gd name="connsiteX156" fmla="*/ 879743 w 7645936"/>
                    <a:gd name="connsiteY156" fmla="*/ 131775 h 4314825"/>
                    <a:gd name="connsiteX157" fmla="*/ 1011518 w 7645936"/>
                    <a:gd name="connsiteY157" fmla="*/ 0 h 431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7645936" h="4314825">
                      <a:moveTo>
                        <a:pt x="5333671" y="2643510"/>
                      </a:moveTo>
                      <a:cubicBezTo>
                        <a:pt x="5256088" y="2643510"/>
                        <a:pt x="5193195" y="2706403"/>
                        <a:pt x="5193195" y="2783986"/>
                      </a:cubicBezTo>
                      <a:lnTo>
                        <a:pt x="5193195" y="3723500"/>
                      </a:lnTo>
                      <a:cubicBezTo>
                        <a:pt x="5193195" y="3801083"/>
                        <a:pt x="5256088" y="3863976"/>
                        <a:pt x="5333671" y="3863976"/>
                      </a:cubicBezTo>
                      <a:lnTo>
                        <a:pt x="5421017" y="3863976"/>
                      </a:lnTo>
                      <a:cubicBezTo>
                        <a:pt x="5498600" y="3863976"/>
                        <a:pt x="5561493" y="3801083"/>
                        <a:pt x="5561493" y="3723500"/>
                      </a:cubicBezTo>
                      <a:lnTo>
                        <a:pt x="5561493" y="2783986"/>
                      </a:lnTo>
                      <a:cubicBezTo>
                        <a:pt x="5561493" y="2706403"/>
                        <a:pt x="5498600" y="2643510"/>
                        <a:pt x="5421017" y="2643510"/>
                      </a:cubicBezTo>
                      <a:close/>
                      <a:moveTo>
                        <a:pt x="4527329" y="2643510"/>
                      </a:moveTo>
                      <a:cubicBezTo>
                        <a:pt x="4449746" y="2643510"/>
                        <a:pt x="4386853" y="2706403"/>
                        <a:pt x="4386853" y="2783986"/>
                      </a:cubicBezTo>
                      <a:lnTo>
                        <a:pt x="4386853" y="3723500"/>
                      </a:lnTo>
                      <a:cubicBezTo>
                        <a:pt x="4386853" y="3801083"/>
                        <a:pt x="4449746" y="3863976"/>
                        <a:pt x="4527329" y="3863976"/>
                      </a:cubicBezTo>
                      <a:lnTo>
                        <a:pt x="4614675" y="3863976"/>
                      </a:lnTo>
                      <a:cubicBezTo>
                        <a:pt x="4692258" y="3863976"/>
                        <a:pt x="4755151" y="3801083"/>
                        <a:pt x="4755151" y="3723500"/>
                      </a:cubicBezTo>
                      <a:lnTo>
                        <a:pt x="4755151" y="2783986"/>
                      </a:lnTo>
                      <a:cubicBezTo>
                        <a:pt x="4755151" y="2706403"/>
                        <a:pt x="4692258" y="2643510"/>
                        <a:pt x="4614675" y="2643510"/>
                      </a:cubicBezTo>
                      <a:close/>
                      <a:moveTo>
                        <a:pt x="3720987" y="2643510"/>
                      </a:moveTo>
                      <a:cubicBezTo>
                        <a:pt x="3643404" y="2643510"/>
                        <a:pt x="3580511" y="2706403"/>
                        <a:pt x="3580511" y="2783986"/>
                      </a:cubicBezTo>
                      <a:lnTo>
                        <a:pt x="3580511" y="3723500"/>
                      </a:lnTo>
                      <a:cubicBezTo>
                        <a:pt x="3580511" y="3801083"/>
                        <a:pt x="3643404" y="3863976"/>
                        <a:pt x="3720987" y="3863976"/>
                      </a:cubicBezTo>
                      <a:lnTo>
                        <a:pt x="3808333" y="3863976"/>
                      </a:lnTo>
                      <a:cubicBezTo>
                        <a:pt x="3885916" y="3863976"/>
                        <a:pt x="3948809" y="3801083"/>
                        <a:pt x="3948809" y="3723500"/>
                      </a:cubicBezTo>
                      <a:lnTo>
                        <a:pt x="3948809" y="2783986"/>
                      </a:lnTo>
                      <a:cubicBezTo>
                        <a:pt x="3948809" y="2706403"/>
                        <a:pt x="3885916" y="2643510"/>
                        <a:pt x="3808333" y="2643510"/>
                      </a:cubicBezTo>
                      <a:close/>
                      <a:moveTo>
                        <a:pt x="2914644" y="2643510"/>
                      </a:moveTo>
                      <a:cubicBezTo>
                        <a:pt x="2837061" y="2643510"/>
                        <a:pt x="2774168" y="2706403"/>
                        <a:pt x="2774168" y="2783986"/>
                      </a:cubicBezTo>
                      <a:lnTo>
                        <a:pt x="2774168" y="3723500"/>
                      </a:lnTo>
                      <a:cubicBezTo>
                        <a:pt x="2774168" y="3801083"/>
                        <a:pt x="2837061" y="3863976"/>
                        <a:pt x="2914644" y="3863976"/>
                      </a:cubicBezTo>
                      <a:lnTo>
                        <a:pt x="3001990" y="3863976"/>
                      </a:lnTo>
                      <a:cubicBezTo>
                        <a:pt x="3079573" y="3863976"/>
                        <a:pt x="3142466" y="3801083"/>
                        <a:pt x="3142466" y="3723500"/>
                      </a:cubicBezTo>
                      <a:lnTo>
                        <a:pt x="3142466" y="2783986"/>
                      </a:lnTo>
                      <a:cubicBezTo>
                        <a:pt x="3142466" y="2706403"/>
                        <a:pt x="3079573" y="2643510"/>
                        <a:pt x="3001990" y="2643510"/>
                      </a:cubicBezTo>
                      <a:close/>
                      <a:moveTo>
                        <a:pt x="2108301" y="2643510"/>
                      </a:moveTo>
                      <a:cubicBezTo>
                        <a:pt x="2030718" y="2643510"/>
                        <a:pt x="1967825" y="2706403"/>
                        <a:pt x="1967825" y="2783986"/>
                      </a:cubicBezTo>
                      <a:lnTo>
                        <a:pt x="1967825" y="3723500"/>
                      </a:lnTo>
                      <a:cubicBezTo>
                        <a:pt x="1967825" y="3801083"/>
                        <a:pt x="2030718" y="3863976"/>
                        <a:pt x="2108301" y="3863976"/>
                      </a:cubicBezTo>
                      <a:lnTo>
                        <a:pt x="2195647" y="3863976"/>
                      </a:lnTo>
                      <a:cubicBezTo>
                        <a:pt x="2273230" y="3863976"/>
                        <a:pt x="2336123" y="3801083"/>
                        <a:pt x="2336123" y="3723500"/>
                      </a:cubicBezTo>
                      <a:lnTo>
                        <a:pt x="2336123" y="2783986"/>
                      </a:lnTo>
                      <a:cubicBezTo>
                        <a:pt x="2336123" y="2706403"/>
                        <a:pt x="2273230" y="2643510"/>
                        <a:pt x="2195647" y="2643510"/>
                      </a:cubicBezTo>
                      <a:close/>
                      <a:moveTo>
                        <a:pt x="5312536" y="2564132"/>
                      </a:moveTo>
                      <a:lnTo>
                        <a:pt x="5442152" y="2564132"/>
                      </a:lnTo>
                      <a:cubicBezTo>
                        <a:pt x="5557280" y="2564132"/>
                        <a:pt x="5650609" y="2657461"/>
                        <a:pt x="5650609" y="2772589"/>
                      </a:cubicBezTo>
                      <a:lnTo>
                        <a:pt x="5650609" y="3734896"/>
                      </a:lnTo>
                      <a:cubicBezTo>
                        <a:pt x="5650609" y="3850024"/>
                        <a:pt x="5557280" y="3943353"/>
                        <a:pt x="5442152" y="3943353"/>
                      </a:cubicBezTo>
                      <a:lnTo>
                        <a:pt x="5312536" y="3943353"/>
                      </a:lnTo>
                      <a:cubicBezTo>
                        <a:pt x="5197408" y="3943353"/>
                        <a:pt x="5104079" y="3850024"/>
                        <a:pt x="5104079" y="3734896"/>
                      </a:cubicBezTo>
                      <a:lnTo>
                        <a:pt x="5104079" y="2772589"/>
                      </a:lnTo>
                      <a:cubicBezTo>
                        <a:pt x="5104079" y="2657461"/>
                        <a:pt x="5197408" y="2564132"/>
                        <a:pt x="5312536" y="2564132"/>
                      </a:cubicBezTo>
                      <a:close/>
                      <a:moveTo>
                        <a:pt x="4506194" y="2564132"/>
                      </a:moveTo>
                      <a:lnTo>
                        <a:pt x="4635810" y="2564132"/>
                      </a:lnTo>
                      <a:cubicBezTo>
                        <a:pt x="4750938" y="2564132"/>
                        <a:pt x="4844267" y="2657461"/>
                        <a:pt x="4844267" y="2772589"/>
                      </a:cubicBezTo>
                      <a:lnTo>
                        <a:pt x="4844267" y="3734896"/>
                      </a:lnTo>
                      <a:cubicBezTo>
                        <a:pt x="4844267" y="3850024"/>
                        <a:pt x="4750938" y="3943353"/>
                        <a:pt x="4635810" y="3943353"/>
                      </a:cubicBezTo>
                      <a:lnTo>
                        <a:pt x="4506194" y="3943353"/>
                      </a:lnTo>
                      <a:cubicBezTo>
                        <a:pt x="4391066" y="3943353"/>
                        <a:pt x="4297737" y="3850024"/>
                        <a:pt x="4297737" y="3734896"/>
                      </a:cubicBezTo>
                      <a:lnTo>
                        <a:pt x="4297737" y="2772589"/>
                      </a:lnTo>
                      <a:cubicBezTo>
                        <a:pt x="4297737" y="2657461"/>
                        <a:pt x="4391066" y="2564132"/>
                        <a:pt x="4506194" y="2564132"/>
                      </a:cubicBezTo>
                      <a:close/>
                      <a:moveTo>
                        <a:pt x="3699852" y="2564132"/>
                      </a:moveTo>
                      <a:lnTo>
                        <a:pt x="3829468" y="2564132"/>
                      </a:lnTo>
                      <a:cubicBezTo>
                        <a:pt x="3944596" y="2564132"/>
                        <a:pt x="4037925" y="2657461"/>
                        <a:pt x="4037925" y="2772589"/>
                      </a:cubicBezTo>
                      <a:lnTo>
                        <a:pt x="4037925" y="3734896"/>
                      </a:lnTo>
                      <a:cubicBezTo>
                        <a:pt x="4037925" y="3850024"/>
                        <a:pt x="3944596" y="3943353"/>
                        <a:pt x="3829468" y="3943353"/>
                      </a:cubicBezTo>
                      <a:lnTo>
                        <a:pt x="3699852" y="3943353"/>
                      </a:lnTo>
                      <a:cubicBezTo>
                        <a:pt x="3584724" y="3943353"/>
                        <a:pt x="3491395" y="3850024"/>
                        <a:pt x="3491395" y="3734896"/>
                      </a:cubicBezTo>
                      <a:lnTo>
                        <a:pt x="3491395" y="2772589"/>
                      </a:lnTo>
                      <a:cubicBezTo>
                        <a:pt x="3491395" y="2657461"/>
                        <a:pt x="3584724" y="2564132"/>
                        <a:pt x="3699852" y="2564132"/>
                      </a:cubicBezTo>
                      <a:close/>
                      <a:moveTo>
                        <a:pt x="2893509" y="2564132"/>
                      </a:moveTo>
                      <a:lnTo>
                        <a:pt x="3023125" y="2564132"/>
                      </a:lnTo>
                      <a:cubicBezTo>
                        <a:pt x="3138253" y="2564132"/>
                        <a:pt x="3231582" y="2657461"/>
                        <a:pt x="3231582" y="2772589"/>
                      </a:cubicBezTo>
                      <a:lnTo>
                        <a:pt x="3231582" y="3734896"/>
                      </a:lnTo>
                      <a:cubicBezTo>
                        <a:pt x="3231582" y="3850024"/>
                        <a:pt x="3138253" y="3943353"/>
                        <a:pt x="3023125" y="3943353"/>
                      </a:cubicBezTo>
                      <a:lnTo>
                        <a:pt x="2893509" y="3943353"/>
                      </a:lnTo>
                      <a:cubicBezTo>
                        <a:pt x="2778381" y="3943353"/>
                        <a:pt x="2685052" y="3850024"/>
                        <a:pt x="2685052" y="3734896"/>
                      </a:cubicBezTo>
                      <a:lnTo>
                        <a:pt x="2685052" y="2772589"/>
                      </a:lnTo>
                      <a:cubicBezTo>
                        <a:pt x="2685052" y="2657461"/>
                        <a:pt x="2778381" y="2564132"/>
                        <a:pt x="2893509" y="2564132"/>
                      </a:cubicBezTo>
                      <a:close/>
                      <a:moveTo>
                        <a:pt x="2087166" y="2564132"/>
                      </a:moveTo>
                      <a:lnTo>
                        <a:pt x="2216782" y="2564132"/>
                      </a:lnTo>
                      <a:cubicBezTo>
                        <a:pt x="2331910" y="2564132"/>
                        <a:pt x="2425239" y="2657461"/>
                        <a:pt x="2425239" y="2772589"/>
                      </a:cubicBezTo>
                      <a:lnTo>
                        <a:pt x="2425239" y="3734896"/>
                      </a:lnTo>
                      <a:cubicBezTo>
                        <a:pt x="2425239" y="3850024"/>
                        <a:pt x="2331910" y="3943353"/>
                        <a:pt x="2216782" y="3943353"/>
                      </a:cubicBezTo>
                      <a:lnTo>
                        <a:pt x="2087166" y="3943353"/>
                      </a:lnTo>
                      <a:cubicBezTo>
                        <a:pt x="1972038" y="3943353"/>
                        <a:pt x="1878709" y="3850024"/>
                        <a:pt x="1878709" y="3734896"/>
                      </a:cubicBezTo>
                      <a:lnTo>
                        <a:pt x="1878709" y="2772589"/>
                      </a:lnTo>
                      <a:cubicBezTo>
                        <a:pt x="1878709" y="2657461"/>
                        <a:pt x="1972038" y="2564132"/>
                        <a:pt x="2087166" y="2564132"/>
                      </a:cubicBezTo>
                      <a:close/>
                      <a:moveTo>
                        <a:pt x="5082919" y="775812"/>
                      </a:moveTo>
                      <a:cubicBezTo>
                        <a:pt x="4803323" y="775812"/>
                        <a:pt x="4576665" y="1002470"/>
                        <a:pt x="4576665" y="1282066"/>
                      </a:cubicBezTo>
                      <a:cubicBezTo>
                        <a:pt x="4576665" y="1561662"/>
                        <a:pt x="4803323" y="1788320"/>
                        <a:pt x="5082919" y="1788320"/>
                      </a:cubicBezTo>
                      <a:cubicBezTo>
                        <a:pt x="5362515" y="1788320"/>
                        <a:pt x="5589173" y="1561662"/>
                        <a:pt x="5589173" y="1282066"/>
                      </a:cubicBezTo>
                      <a:cubicBezTo>
                        <a:pt x="5589173" y="1002470"/>
                        <a:pt x="5362515" y="775812"/>
                        <a:pt x="5082919" y="775812"/>
                      </a:cubicBezTo>
                      <a:close/>
                      <a:moveTo>
                        <a:pt x="2408299" y="775812"/>
                      </a:moveTo>
                      <a:cubicBezTo>
                        <a:pt x="2128703" y="775812"/>
                        <a:pt x="1902046" y="1002470"/>
                        <a:pt x="1902046" y="1282066"/>
                      </a:cubicBezTo>
                      <a:cubicBezTo>
                        <a:pt x="1902046" y="1561662"/>
                        <a:pt x="2128703" y="1788320"/>
                        <a:pt x="2408299" y="1788320"/>
                      </a:cubicBezTo>
                      <a:cubicBezTo>
                        <a:pt x="2687895" y="1788320"/>
                        <a:pt x="2914553" y="1561662"/>
                        <a:pt x="2914553" y="1282066"/>
                      </a:cubicBezTo>
                      <a:cubicBezTo>
                        <a:pt x="2914553" y="1002470"/>
                        <a:pt x="2687895" y="775812"/>
                        <a:pt x="2408299" y="775812"/>
                      </a:cubicBezTo>
                      <a:close/>
                      <a:moveTo>
                        <a:pt x="5082919" y="661036"/>
                      </a:moveTo>
                      <a:cubicBezTo>
                        <a:pt x="5425904" y="661036"/>
                        <a:pt x="5703949" y="939081"/>
                        <a:pt x="5703949" y="1282066"/>
                      </a:cubicBezTo>
                      <a:cubicBezTo>
                        <a:pt x="5703949" y="1625051"/>
                        <a:pt x="5425904" y="1903096"/>
                        <a:pt x="5082919" y="1903096"/>
                      </a:cubicBezTo>
                      <a:cubicBezTo>
                        <a:pt x="4739934" y="1903096"/>
                        <a:pt x="4461889" y="1625051"/>
                        <a:pt x="4461889" y="1282066"/>
                      </a:cubicBezTo>
                      <a:cubicBezTo>
                        <a:pt x="4461889" y="939081"/>
                        <a:pt x="4739934" y="661036"/>
                        <a:pt x="5082919" y="661036"/>
                      </a:cubicBezTo>
                      <a:close/>
                      <a:moveTo>
                        <a:pt x="2408299" y="661036"/>
                      </a:moveTo>
                      <a:cubicBezTo>
                        <a:pt x="2751284" y="661036"/>
                        <a:pt x="3029329" y="939081"/>
                        <a:pt x="3029329" y="1282066"/>
                      </a:cubicBezTo>
                      <a:cubicBezTo>
                        <a:pt x="3029329" y="1625051"/>
                        <a:pt x="2751284" y="1903096"/>
                        <a:pt x="2408299" y="1903096"/>
                      </a:cubicBezTo>
                      <a:cubicBezTo>
                        <a:pt x="2065314" y="1903096"/>
                        <a:pt x="1787269" y="1625051"/>
                        <a:pt x="1787269" y="1282066"/>
                      </a:cubicBezTo>
                      <a:cubicBezTo>
                        <a:pt x="1787269" y="939081"/>
                        <a:pt x="2065314" y="661036"/>
                        <a:pt x="2408299" y="661036"/>
                      </a:cubicBezTo>
                      <a:close/>
                      <a:moveTo>
                        <a:pt x="1164182" y="126434"/>
                      </a:moveTo>
                      <a:cubicBezTo>
                        <a:pt x="1092372" y="126434"/>
                        <a:pt x="1034158" y="184647"/>
                        <a:pt x="1034158" y="256457"/>
                      </a:cubicBezTo>
                      <a:lnTo>
                        <a:pt x="1034158" y="1603376"/>
                      </a:lnTo>
                      <a:lnTo>
                        <a:pt x="879743" y="1603376"/>
                      </a:lnTo>
                      <a:lnTo>
                        <a:pt x="478976" y="1603376"/>
                      </a:lnTo>
                      <a:lnTo>
                        <a:pt x="478976" y="1286475"/>
                      </a:lnTo>
                      <a:lnTo>
                        <a:pt x="89830" y="1286475"/>
                      </a:lnTo>
                      <a:lnTo>
                        <a:pt x="89830" y="2046729"/>
                      </a:lnTo>
                      <a:lnTo>
                        <a:pt x="478976" y="2046729"/>
                      </a:lnTo>
                      <a:lnTo>
                        <a:pt x="478976" y="1724026"/>
                      </a:lnTo>
                      <a:lnTo>
                        <a:pt x="879743" y="1724026"/>
                      </a:lnTo>
                      <a:lnTo>
                        <a:pt x="1034158" y="1724026"/>
                      </a:lnTo>
                      <a:lnTo>
                        <a:pt x="1034158" y="4058369"/>
                      </a:lnTo>
                      <a:cubicBezTo>
                        <a:pt x="1034158" y="4130179"/>
                        <a:pt x="1092372" y="4188392"/>
                        <a:pt x="1164182" y="4188392"/>
                      </a:cubicBezTo>
                      <a:lnTo>
                        <a:pt x="6481755" y="4188392"/>
                      </a:lnTo>
                      <a:cubicBezTo>
                        <a:pt x="6553565" y="4188392"/>
                        <a:pt x="6611778" y="4130179"/>
                        <a:pt x="6611778" y="4058369"/>
                      </a:cubicBezTo>
                      <a:lnTo>
                        <a:pt x="6611778" y="1724026"/>
                      </a:lnTo>
                      <a:lnTo>
                        <a:pt x="6766193" y="1724026"/>
                      </a:lnTo>
                      <a:lnTo>
                        <a:pt x="7166960" y="1724026"/>
                      </a:lnTo>
                      <a:lnTo>
                        <a:pt x="7166960" y="2046729"/>
                      </a:lnTo>
                      <a:lnTo>
                        <a:pt x="7556106" y="2046729"/>
                      </a:lnTo>
                      <a:lnTo>
                        <a:pt x="7556106" y="1286475"/>
                      </a:lnTo>
                      <a:lnTo>
                        <a:pt x="7166960" y="1286475"/>
                      </a:lnTo>
                      <a:lnTo>
                        <a:pt x="7166960" y="1603376"/>
                      </a:lnTo>
                      <a:lnTo>
                        <a:pt x="6766193" y="1603376"/>
                      </a:lnTo>
                      <a:lnTo>
                        <a:pt x="6611778" y="1603376"/>
                      </a:lnTo>
                      <a:lnTo>
                        <a:pt x="6611778" y="256457"/>
                      </a:lnTo>
                      <a:cubicBezTo>
                        <a:pt x="6611778" y="184647"/>
                        <a:pt x="6553565" y="126434"/>
                        <a:pt x="6481755" y="126434"/>
                      </a:cubicBezTo>
                      <a:close/>
                      <a:moveTo>
                        <a:pt x="1011518" y="0"/>
                      </a:moveTo>
                      <a:lnTo>
                        <a:pt x="6634418" y="0"/>
                      </a:lnTo>
                      <a:cubicBezTo>
                        <a:pt x="6707195" y="0"/>
                        <a:pt x="6766193" y="58999"/>
                        <a:pt x="6766193" y="131775"/>
                      </a:cubicBezTo>
                      <a:lnTo>
                        <a:pt x="6766193" y="1485987"/>
                      </a:lnTo>
                      <a:lnTo>
                        <a:pt x="7077129" y="1485987"/>
                      </a:lnTo>
                      <a:lnTo>
                        <a:pt x="7077129" y="1193887"/>
                      </a:lnTo>
                      <a:lnTo>
                        <a:pt x="7645936" y="1193887"/>
                      </a:lnTo>
                      <a:lnTo>
                        <a:pt x="7645936" y="2139317"/>
                      </a:lnTo>
                      <a:lnTo>
                        <a:pt x="7077129" y="2139317"/>
                      </a:lnTo>
                      <a:lnTo>
                        <a:pt x="7077129" y="1840719"/>
                      </a:lnTo>
                      <a:lnTo>
                        <a:pt x="6766193" y="1840719"/>
                      </a:lnTo>
                      <a:lnTo>
                        <a:pt x="6766193" y="4183050"/>
                      </a:lnTo>
                      <a:cubicBezTo>
                        <a:pt x="6766193" y="4255827"/>
                        <a:pt x="6707195" y="4314825"/>
                        <a:pt x="6634418" y="4314825"/>
                      </a:cubicBezTo>
                      <a:lnTo>
                        <a:pt x="1011518" y="4314825"/>
                      </a:lnTo>
                      <a:cubicBezTo>
                        <a:pt x="938741" y="4314825"/>
                        <a:pt x="879743" y="4255827"/>
                        <a:pt x="879743" y="4183050"/>
                      </a:cubicBezTo>
                      <a:lnTo>
                        <a:pt x="879743" y="1840719"/>
                      </a:lnTo>
                      <a:lnTo>
                        <a:pt x="568807" y="1840719"/>
                      </a:lnTo>
                      <a:lnTo>
                        <a:pt x="568807" y="2139317"/>
                      </a:lnTo>
                      <a:lnTo>
                        <a:pt x="0" y="2139317"/>
                      </a:lnTo>
                      <a:lnTo>
                        <a:pt x="0" y="1193887"/>
                      </a:lnTo>
                      <a:lnTo>
                        <a:pt x="568807" y="1193887"/>
                      </a:lnTo>
                      <a:lnTo>
                        <a:pt x="568807" y="1485987"/>
                      </a:lnTo>
                      <a:lnTo>
                        <a:pt x="879743" y="1485987"/>
                      </a:lnTo>
                      <a:lnTo>
                        <a:pt x="879743" y="131775"/>
                      </a:lnTo>
                      <a:cubicBezTo>
                        <a:pt x="879743" y="58999"/>
                        <a:pt x="938741" y="0"/>
                        <a:pt x="1011518" y="0"/>
                      </a:cubicBezTo>
                      <a:close/>
                    </a:path>
                  </a:pathLst>
                </a:custGeom>
                <a:solidFill>
                  <a:srgbClr val="0078D7"/>
                </a:solidFill>
                <a:ln w="3175" cap="flat" cmpd="sng" algn="ctr">
                  <a:solidFill>
                    <a:srgbClr val="0078D7"/>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2" name="Straight Connector 21"/>
                <p:cNvCxnSpPr/>
                <p:nvPr/>
              </p:nvCxnSpPr>
              <p:spPr>
                <a:xfrm flipH="1">
                  <a:off x="10486805" y="3605293"/>
                  <a:ext cx="308472" cy="0"/>
                </a:xfrm>
                <a:prstGeom prst="line">
                  <a:avLst/>
                </a:prstGeom>
                <a:noFill/>
                <a:ln w="9525" cap="flat" cmpd="sng" algn="ctr">
                  <a:solidFill>
                    <a:srgbClr val="FFFFFF">
                      <a:lumMod val="65000"/>
                    </a:srgbClr>
                  </a:solidFill>
                  <a:prstDash val="solid"/>
                  <a:headEnd type="none" w="med" len="med"/>
                  <a:tailEnd type="none" w="med" len="med"/>
                </a:ln>
                <a:effectLst/>
              </p:spPr>
            </p:cxnSp>
          </p:grpSp>
        </p:grpSp>
      </p:grpSp>
      <p:grpSp>
        <p:nvGrpSpPr>
          <p:cNvPr id="31" name="Group 30"/>
          <p:cNvGrpSpPr/>
          <p:nvPr/>
        </p:nvGrpSpPr>
        <p:grpSpPr>
          <a:xfrm>
            <a:off x="7329281" y="1657300"/>
            <a:ext cx="2567367" cy="4550586"/>
            <a:chOff x="7329456" y="1657048"/>
            <a:chExt cx="2567731" cy="4551232"/>
          </a:xfrm>
          <a:solidFill>
            <a:srgbClr val="00B0F0"/>
          </a:solidFill>
        </p:grpSpPr>
        <p:sp>
          <p:nvSpPr>
            <p:cNvPr id="32" name="Rectangle 31"/>
            <p:cNvSpPr/>
            <p:nvPr/>
          </p:nvSpPr>
          <p:spPr bwMode="auto">
            <a:xfrm>
              <a:off x="7759315" y="1657048"/>
              <a:ext cx="1857766" cy="2734231"/>
            </a:xfrm>
            <a:prstGeom prst="rect">
              <a:avLst/>
            </a:prstGeom>
            <a:grpFill/>
            <a:ln w="3175">
              <a:noFill/>
            </a:ln>
            <a:effectLst/>
          </p:spPr>
          <p:txBody>
            <a:bodyPr spcFirstLastPara="0" vert="horz" wrap="square" lIns="18278" tIns="91427" rIns="18278" bIns="91388" numCol="1" spcCol="1270" anchor="t" anchorCtr="0">
              <a:noAutofit/>
            </a:bodyPr>
            <a:lstStyle/>
            <a:p>
              <a:pPr algn="ctr" defTabSz="724873">
                <a:spcBef>
                  <a:spcPct val="0"/>
                </a:spcBef>
                <a:spcAft>
                  <a:spcPct val="35000"/>
                </a:spcAft>
                <a:defRPr/>
              </a:pPr>
              <a:r>
                <a:rPr lang="en-US" sz="1400" kern="0" dirty="0">
                  <a:solidFill>
                    <a:srgbClr val="FFFFFF"/>
                  </a:solidFill>
                  <a:latin typeface="Segoe UI Semibold" panose="020B0702040204020203" pitchFamily="34" charset="0"/>
                  <a:cs typeface="Segoe UI Semibold" panose="020B0702040204020203" pitchFamily="34" charset="0"/>
                </a:rPr>
                <a:t>Intelligence</a:t>
              </a:r>
            </a:p>
          </p:txBody>
        </p:sp>
        <p:sp>
          <p:nvSpPr>
            <p:cNvPr id="33" name="Rectangle 32"/>
            <p:cNvSpPr/>
            <p:nvPr/>
          </p:nvSpPr>
          <p:spPr bwMode="auto">
            <a:xfrm>
              <a:off x="7759315" y="4491484"/>
              <a:ext cx="1857766" cy="1352961"/>
            </a:xfrm>
            <a:prstGeom prst="rect">
              <a:avLst/>
            </a:prstGeom>
            <a:grpFill/>
            <a:ln w="3175">
              <a:noFill/>
            </a:ln>
            <a:effectLst/>
          </p:spPr>
          <p:txBody>
            <a:bodyPr spcFirstLastPara="0" vert="horz" wrap="square" lIns="18278" tIns="91427" rIns="18278" bIns="91388" numCol="1" spcCol="1270" anchor="t" anchorCtr="0">
              <a:noAutofit/>
            </a:bodyPr>
            <a:lstStyle/>
            <a:p>
              <a:pPr algn="ctr" defTabSz="724873">
                <a:spcBef>
                  <a:spcPct val="0"/>
                </a:spcBef>
                <a:spcAft>
                  <a:spcPct val="35000"/>
                </a:spcAft>
                <a:defRPr/>
              </a:pPr>
              <a:r>
                <a:rPr lang="en-US" sz="1400" kern="0" dirty="0">
                  <a:solidFill>
                    <a:srgbClr val="FFFFFF"/>
                  </a:solidFill>
                  <a:latin typeface="Segoe UI Semibold" panose="020B0702040204020203" pitchFamily="34" charset="0"/>
                  <a:cs typeface="Segoe UI Semibold" panose="020B0702040204020203" pitchFamily="34" charset="0"/>
                </a:rPr>
                <a:t>Dashboards &amp; Visualizations</a:t>
              </a:r>
            </a:p>
          </p:txBody>
        </p:sp>
        <p:sp>
          <p:nvSpPr>
            <p:cNvPr id="34" name="Rectangle 33"/>
            <p:cNvSpPr/>
            <p:nvPr/>
          </p:nvSpPr>
          <p:spPr>
            <a:xfrm>
              <a:off x="8282077" y="3724639"/>
              <a:ext cx="1268870" cy="265009"/>
            </a:xfrm>
            <a:prstGeom prst="rect">
              <a:avLst/>
            </a:prstGeom>
            <a:grpFill/>
          </p:spPr>
          <p:txBody>
            <a:bodyPr wrap="square">
              <a:spAutoFit/>
            </a:bodyPr>
            <a:lstStyle/>
            <a:p>
              <a:pPr defTabSz="914225">
                <a:defRPr/>
              </a:pPr>
              <a:r>
                <a:rPr lang="en-US" sz="1100" kern="0" dirty="0">
                  <a:solidFill>
                    <a:srgbClr val="FFFFFF"/>
                  </a:solidFill>
                  <a:latin typeface="Segoe UI"/>
                  <a:cs typeface="Segoe UI Semilight" panose="020B0402040204020203" pitchFamily="34" charset="0"/>
                </a:rPr>
                <a:t>Cortana</a:t>
              </a:r>
            </a:p>
          </p:txBody>
        </p:sp>
        <p:grpSp>
          <p:nvGrpSpPr>
            <p:cNvPr id="35" name="Group 34"/>
            <p:cNvGrpSpPr/>
            <p:nvPr/>
          </p:nvGrpSpPr>
          <p:grpSpPr>
            <a:xfrm>
              <a:off x="7886100" y="3695712"/>
              <a:ext cx="315759" cy="315759"/>
              <a:chOff x="3236100" y="589298"/>
              <a:chExt cx="5641200" cy="5641200"/>
            </a:xfrm>
            <a:grpFill/>
          </p:grpSpPr>
          <p:sp>
            <p:nvSpPr>
              <p:cNvPr id="54" name="Freeform 53"/>
              <p:cNvSpPr/>
              <p:nvPr/>
            </p:nvSpPr>
            <p:spPr bwMode="auto">
              <a:xfrm>
                <a:off x="3236100" y="589298"/>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spcBef>
                    <a:spcPct val="0"/>
                  </a:spcBef>
                  <a:spcAft>
                    <a:spcPct val="0"/>
                  </a:spcAft>
                  <a:defRPr/>
                </a:pPr>
                <a:endParaRPr lang="en-US" sz="3600" kern="0" dirty="0">
                  <a:solidFill>
                    <a:srgbClr val="FFFFFF"/>
                  </a:solidFill>
                  <a:latin typeface="Segoe UI"/>
                  <a:ea typeface="Segoe UI" pitchFamily="34" charset="0"/>
                  <a:cs typeface="Segoe UI" pitchFamily="34" charset="0"/>
                </a:endParaRPr>
              </a:p>
            </p:txBody>
          </p:sp>
          <p:sp>
            <p:nvSpPr>
              <p:cNvPr id="55" name="Freeform 54"/>
              <p:cNvSpPr/>
              <p:nvPr/>
            </p:nvSpPr>
            <p:spPr bwMode="auto">
              <a:xfrm>
                <a:off x="3615099" y="968297"/>
                <a:ext cx="4883202" cy="4883202"/>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spcBef>
                    <a:spcPct val="0"/>
                  </a:spcBef>
                  <a:spcAft>
                    <a:spcPct val="0"/>
                  </a:spcAft>
                  <a:defRPr/>
                </a:pPr>
                <a:endParaRPr lang="en-US" sz="3600" kern="0" dirty="0">
                  <a:solidFill>
                    <a:srgbClr val="FFFFFF"/>
                  </a:solidFill>
                  <a:latin typeface="Segoe UI"/>
                  <a:ea typeface="Segoe UI" pitchFamily="34" charset="0"/>
                  <a:cs typeface="Segoe UI" pitchFamily="34" charset="0"/>
                </a:endParaRPr>
              </a:p>
            </p:txBody>
          </p:sp>
        </p:grpSp>
        <p:cxnSp>
          <p:nvCxnSpPr>
            <p:cNvPr id="36" name="Straight Connector 35"/>
            <p:cNvCxnSpPr/>
            <p:nvPr/>
          </p:nvCxnSpPr>
          <p:spPr>
            <a:xfrm>
              <a:off x="7329456" y="6118143"/>
              <a:ext cx="2377440" cy="0"/>
            </a:xfrm>
            <a:prstGeom prst="line">
              <a:avLst/>
            </a:prstGeom>
            <a:grpFill/>
            <a:ln w="28575" cap="flat" cmpd="sng" algn="ctr">
              <a:solidFill>
                <a:srgbClr val="002050"/>
              </a:solidFill>
              <a:prstDash val="solid"/>
              <a:headEnd type="none"/>
              <a:tailEnd type="none"/>
            </a:ln>
            <a:effectLst/>
          </p:spPr>
        </p:cxnSp>
        <p:grpSp>
          <p:nvGrpSpPr>
            <p:cNvPr id="37" name="Group 36"/>
            <p:cNvGrpSpPr/>
            <p:nvPr/>
          </p:nvGrpSpPr>
          <p:grpSpPr>
            <a:xfrm rot="13500000">
              <a:off x="9515255" y="6028138"/>
              <a:ext cx="181498" cy="178786"/>
              <a:chOff x="402446" y="5872915"/>
              <a:chExt cx="292608" cy="288235"/>
            </a:xfrm>
            <a:grpFill/>
          </p:grpSpPr>
          <p:cxnSp>
            <p:nvCxnSpPr>
              <p:cNvPr id="52" name="Straight Connector 51"/>
              <p:cNvCxnSpPr/>
              <p:nvPr/>
            </p:nvCxnSpPr>
            <p:spPr>
              <a:xfrm>
                <a:off x="412598" y="5872915"/>
                <a:ext cx="0" cy="288235"/>
              </a:xfrm>
              <a:prstGeom prst="line">
                <a:avLst/>
              </a:prstGeom>
              <a:grpFill/>
              <a:ln w="28575" cap="flat" cmpd="sng" algn="ctr">
                <a:solidFill>
                  <a:srgbClr val="002050"/>
                </a:solidFill>
                <a:prstDash val="solid"/>
                <a:headEnd type="none"/>
                <a:tailEnd type="none"/>
              </a:ln>
              <a:effectLst/>
            </p:spPr>
          </p:cxnSp>
          <p:cxnSp>
            <p:nvCxnSpPr>
              <p:cNvPr id="53" name="Straight Connector 52"/>
              <p:cNvCxnSpPr/>
              <p:nvPr/>
            </p:nvCxnSpPr>
            <p:spPr>
              <a:xfrm>
                <a:off x="402446" y="6148978"/>
                <a:ext cx="292608" cy="0"/>
              </a:xfrm>
              <a:prstGeom prst="line">
                <a:avLst/>
              </a:prstGeom>
              <a:grpFill/>
              <a:ln w="28575" cap="flat" cmpd="sng" algn="ctr">
                <a:solidFill>
                  <a:srgbClr val="002050"/>
                </a:solidFill>
                <a:prstDash val="solid"/>
                <a:headEnd type="none"/>
                <a:tailEnd type="none"/>
              </a:ln>
              <a:effectLst/>
            </p:spPr>
          </p:cxnSp>
        </p:grpSp>
        <p:cxnSp>
          <p:nvCxnSpPr>
            <p:cNvPr id="38" name="Straight Connector 37"/>
            <p:cNvCxnSpPr/>
            <p:nvPr/>
          </p:nvCxnSpPr>
          <p:spPr>
            <a:xfrm flipH="1">
              <a:off x="9588715" y="3765778"/>
              <a:ext cx="308472" cy="0"/>
            </a:xfrm>
            <a:prstGeom prst="line">
              <a:avLst/>
            </a:prstGeom>
            <a:grpFill/>
            <a:ln w="12700" cap="flat" cmpd="sng" algn="ctr">
              <a:solidFill>
                <a:srgbClr val="0078D7"/>
              </a:solidFill>
              <a:prstDash val="solid"/>
              <a:headEnd type="none"/>
              <a:tailEnd type="none"/>
            </a:ln>
            <a:effectLst/>
          </p:spPr>
        </p:cxnSp>
        <p:sp>
          <p:nvSpPr>
            <p:cNvPr id="39" name="Rectangle 38"/>
            <p:cNvSpPr/>
            <p:nvPr/>
          </p:nvSpPr>
          <p:spPr>
            <a:xfrm>
              <a:off x="8282077" y="3052541"/>
              <a:ext cx="1268870" cy="437684"/>
            </a:xfrm>
            <a:prstGeom prst="rect">
              <a:avLst/>
            </a:prstGeom>
            <a:grpFill/>
          </p:spPr>
          <p:txBody>
            <a:bodyPr wrap="square" anchor="ctr">
              <a:spAutoFit/>
            </a:bodyPr>
            <a:lstStyle/>
            <a:p>
              <a:pPr defTabSz="914225">
                <a:defRPr/>
              </a:pPr>
              <a:r>
                <a:rPr lang="en-US" sz="1100" kern="0" dirty="0">
                  <a:solidFill>
                    <a:srgbClr val="FFFFFF"/>
                  </a:solidFill>
                  <a:latin typeface="Segoe UI"/>
                  <a:cs typeface="Segoe UI Semilight" panose="020B0402040204020203" pitchFamily="34" charset="0"/>
                </a:rPr>
                <a:t>Bot </a:t>
              </a:r>
              <a:br>
                <a:rPr lang="en-US" sz="1100" kern="0" dirty="0">
                  <a:solidFill>
                    <a:srgbClr val="FFFFFF"/>
                  </a:solidFill>
                  <a:latin typeface="Segoe UI"/>
                  <a:cs typeface="Segoe UI Semilight" panose="020B0402040204020203" pitchFamily="34" charset="0"/>
                </a:rPr>
              </a:br>
              <a:r>
                <a:rPr lang="en-US" sz="1100" kern="0" dirty="0">
                  <a:solidFill>
                    <a:srgbClr val="FFFFFF"/>
                  </a:solidFill>
                  <a:latin typeface="Segoe UI"/>
                  <a:cs typeface="Segoe UI Semilight" panose="020B0402040204020203" pitchFamily="34" charset="0"/>
                </a:rPr>
                <a:t>Framework</a:t>
              </a:r>
            </a:p>
          </p:txBody>
        </p:sp>
        <p:sp>
          <p:nvSpPr>
            <p:cNvPr id="40" name="Rectangle 39"/>
            <p:cNvSpPr/>
            <p:nvPr/>
          </p:nvSpPr>
          <p:spPr>
            <a:xfrm>
              <a:off x="8282077" y="2443589"/>
              <a:ext cx="1268870" cy="437684"/>
            </a:xfrm>
            <a:prstGeom prst="rect">
              <a:avLst/>
            </a:prstGeom>
            <a:grpFill/>
          </p:spPr>
          <p:txBody>
            <a:bodyPr wrap="square">
              <a:spAutoFit/>
            </a:bodyPr>
            <a:lstStyle/>
            <a:p>
              <a:pPr defTabSz="914225">
                <a:defRPr/>
              </a:pPr>
              <a:r>
                <a:rPr lang="en-US" sz="1100" kern="0" dirty="0">
                  <a:solidFill>
                    <a:srgbClr val="FFFFFF"/>
                  </a:solidFill>
                  <a:latin typeface="Segoe UI"/>
                  <a:cs typeface="Segoe UI Semilight" panose="020B0402040204020203" pitchFamily="34" charset="0"/>
                </a:rPr>
                <a:t>Cognitive Services</a:t>
              </a:r>
            </a:p>
          </p:txBody>
        </p:sp>
        <p:grpSp>
          <p:nvGrpSpPr>
            <p:cNvPr id="41" name="Group 40"/>
            <p:cNvGrpSpPr/>
            <p:nvPr/>
          </p:nvGrpSpPr>
          <p:grpSpPr>
            <a:xfrm>
              <a:off x="7830264" y="2521994"/>
              <a:ext cx="427431" cy="274077"/>
              <a:chOff x="7822816" y="2717080"/>
              <a:chExt cx="427431" cy="274077"/>
            </a:xfrm>
            <a:grpFill/>
          </p:grpSpPr>
          <p:sp>
            <p:nvSpPr>
              <p:cNvPr id="50" name="Freeform 49"/>
              <p:cNvSpPr>
                <a:spLocks/>
              </p:cNvSpPr>
              <p:nvPr/>
            </p:nvSpPr>
            <p:spPr bwMode="auto">
              <a:xfrm flipH="1">
                <a:off x="782281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grpFill/>
              <a:ln>
                <a:noFill/>
              </a:ln>
            </p:spPr>
            <p:txBody>
              <a:bodyPr vert="horz" wrap="square" lIns="91427" tIns="45713" rIns="91427" bIns="45713" numCol="1" anchor="t" anchorCtr="0" compatLnSpc="1">
                <a:prstTxWarp prst="textNoShape">
                  <a:avLst/>
                </a:prstTxWarp>
                <a:noAutofit/>
              </a:bodyPr>
              <a:lstStyle/>
              <a:p>
                <a:pPr defTabSz="914225">
                  <a:defRPr/>
                </a:pPr>
                <a:endParaRPr lang="en-US" kern="0" dirty="0">
                  <a:solidFill>
                    <a:srgbClr val="FFFFFF"/>
                  </a:solidFill>
                  <a:latin typeface="Segoe UI"/>
                </a:endParaRPr>
              </a:p>
            </p:txBody>
          </p:sp>
          <p:sp>
            <p:nvSpPr>
              <p:cNvPr id="51" name="Freeform 109"/>
              <p:cNvSpPr>
                <a:spLocks/>
              </p:cNvSpPr>
              <p:nvPr/>
            </p:nvSpPr>
            <p:spPr bwMode="auto">
              <a:xfrm>
                <a:off x="793668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grpFill/>
              <a:ln>
                <a:noFill/>
              </a:ln>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latin typeface="Segoe UI"/>
                </a:endParaRPr>
              </a:p>
            </p:txBody>
          </p:sp>
        </p:grpSp>
        <p:sp>
          <p:nvSpPr>
            <p:cNvPr id="42" name="Rectangle 41"/>
            <p:cNvSpPr/>
            <p:nvPr/>
          </p:nvSpPr>
          <p:spPr>
            <a:xfrm>
              <a:off x="8241821" y="5297166"/>
              <a:ext cx="1271016" cy="265009"/>
            </a:xfrm>
            <a:prstGeom prst="rect">
              <a:avLst/>
            </a:prstGeom>
            <a:grpFill/>
          </p:spPr>
          <p:txBody>
            <a:bodyPr wrap="square">
              <a:spAutoFit/>
            </a:bodyPr>
            <a:lstStyle/>
            <a:p>
              <a:pPr defTabSz="914225">
                <a:defRPr/>
              </a:pPr>
              <a:r>
                <a:rPr lang="en-US" sz="1100" kern="0" dirty="0">
                  <a:solidFill>
                    <a:srgbClr val="FFFFFF"/>
                  </a:solidFill>
                  <a:latin typeface="Segoe UI"/>
                  <a:cs typeface="Segoe UI Semilight" panose="020B0402040204020203" pitchFamily="34" charset="0"/>
                </a:rPr>
                <a:t>Power BI</a:t>
              </a:r>
            </a:p>
          </p:txBody>
        </p:sp>
        <p:grpSp>
          <p:nvGrpSpPr>
            <p:cNvPr id="43" name="Group 42"/>
            <p:cNvGrpSpPr/>
            <p:nvPr/>
          </p:nvGrpSpPr>
          <p:grpSpPr>
            <a:xfrm>
              <a:off x="7884058" y="5324140"/>
              <a:ext cx="324905" cy="207663"/>
              <a:chOff x="7884058" y="5368509"/>
              <a:chExt cx="324905" cy="207663"/>
            </a:xfrm>
            <a:grpFill/>
          </p:grpSpPr>
          <p:sp>
            <p:nvSpPr>
              <p:cNvPr id="45"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grpFill/>
              <a:ln>
                <a:noFill/>
              </a:ln>
            </p:spPr>
            <p:txBody>
              <a:bodyPr vert="horz" wrap="square" lIns="89630" tIns="44814" rIns="89630" bIns="44814" numCol="1" anchor="t" anchorCtr="0" compatLnSpc="1">
                <a:prstTxWarp prst="textNoShape">
                  <a:avLst/>
                </a:prstTxWarp>
              </a:bodyPr>
              <a:lstStyle/>
              <a:p>
                <a:pPr defTabSz="914225">
                  <a:defRPr/>
                </a:pPr>
                <a:endParaRPr lang="en-US" sz="1765" kern="0" dirty="0">
                  <a:solidFill>
                    <a:srgbClr val="FFFFFF"/>
                  </a:solidFill>
                  <a:latin typeface="Segoe UI"/>
                </a:endParaRPr>
              </a:p>
            </p:txBody>
          </p:sp>
          <p:sp>
            <p:nvSpPr>
              <p:cNvPr id="46"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grpFill/>
              <a:ln>
                <a:noFill/>
              </a:ln>
            </p:spPr>
            <p:txBody>
              <a:bodyPr vert="horz" wrap="square" lIns="89630" tIns="44814" rIns="89630" bIns="44814" numCol="1" anchor="t" anchorCtr="0" compatLnSpc="1">
                <a:prstTxWarp prst="textNoShape">
                  <a:avLst/>
                </a:prstTxWarp>
              </a:bodyPr>
              <a:lstStyle/>
              <a:p>
                <a:pPr defTabSz="914225">
                  <a:defRPr/>
                </a:pPr>
                <a:endParaRPr lang="en-US" sz="1765" kern="0" dirty="0">
                  <a:solidFill>
                    <a:srgbClr val="FFFFFF"/>
                  </a:solidFill>
                  <a:latin typeface="Segoe UI"/>
                </a:endParaRPr>
              </a:p>
            </p:txBody>
          </p:sp>
          <p:sp>
            <p:nvSpPr>
              <p:cNvPr id="47"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grpFill/>
              <a:ln>
                <a:noFill/>
              </a:ln>
            </p:spPr>
            <p:txBody>
              <a:bodyPr vert="horz" wrap="square" lIns="89630" tIns="44814" rIns="89630" bIns="44814" numCol="1" anchor="t" anchorCtr="0" compatLnSpc="1">
                <a:prstTxWarp prst="textNoShape">
                  <a:avLst/>
                </a:prstTxWarp>
              </a:bodyPr>
              <a:lstStyle/>
              <a:p>
                <a:pPr defTabSz="914225">
                  <a:defRPr/>
                </a:pPr>
                <a:endParaRPr lang="en-US" sz="1765" kern="0" dirty="0">
                  <a:solidFill>
                    <a:srgbClr val="FFFFFF"/>
                  </a:solidFill>
                  <a:latin typeface="Segoe UI"/>
                </a:endParaRPr>
              </a:p>
            </p:txBody>
          </p:sp>
          <p:sp>
            <p:nvSpPr>
              <p:cNvPr id="48"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grpFill/>
              <a:ln>
                <a:noFill/>
              </a:ln>
            </p:spPr>
            <p:txBody>
              <a:bodyPr vert="horz" wrap="square" lIns="89630" tIns="44814" rIns="89630" bIns="44814" numCol="1" anchor="t" anchorCtr="0" compatLnSpc="1">
                <a:prstTxWarp prst="textNoShape">
                  <a:avLst/>
                </a:prstTxWarp>
              </a:bodyPr>
              <a:lstStyle/>
              <a:p>
                <a:pPr defTabSz="914225">
                  <a:defRPr/>
                </a:pPr>
                <a:endParaRPr lang="en-US" sz="1765" kern="0" dirty="0">
                  <a:solidFill>
                    <a:srgbClr val="FFFFFF"/>
                  </a:solidFill>
                  <a:latin typeface="Segoe UI"/>
                </a:endParaRPr>
              </a:p>
            </p:txBody>
          </p:sp>
          <p:sp>
            <p:nvSpPr>
              <p:cNvPr id="49"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grpFill/>
              <a:ln>
                <a:noFill/>
              </a:ln>
            </p:spPr>
            <p:txBody>
              <a:bodyPr vert="horz" wrap="square" lIns="89630" tIns="44814" rIns="89630" bIns="44814" numCol="1" anchor="t" anchorCtr="0" compatLnSpc="1">
                <a:prstTxWarp prst="textNoShape">
                  <a:avLst/>
                </a:prstTxWarp>
              </a:bodyPr>
              <a:lstStyle/>
              <a:p>
                <a:pPr defTabSz="914225">
                  <a:defRPr/>
                </a:pPr>
                <a:endParaRPr lang="en-US" sz="1765" kern="0" dirty="0">
                  <a:solidFill>
                    <a:srgbClr val="FFFFFF"/>
                  </a:solidFill>
                  <a:latin typeface="Segoe UI"/>
                </a:endParaRPr>
              </a:p>
            </p:txBody>
          </p:sp>
        </p:grpSp>
        <p:sp>
          <p:nvSpPr>
            <p:cNvPr id="44" name="Freeform 43"/>
            <p:cNvSpPr/>
            <p:nvPr/>
          </p:nvSpPr>
          <p:spPr bwMode="auto">
            <a:xfrm>
              <a:off x="7857300" y="3140323"/>
              <a:ext cx="373358" cy="253796"/>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400" kern="0" dirty="0">
                <a:solidFill>
                  <a:srgbClr val="FFFFFF"/>
                </a:solidFill>
                <a:latin typeface="Segoe UI"/>
                <a:ea typeface="Segoe UI" pitchFamily="34" charset="0"/>
                <a:cs typeface="Segoe UI" pitchFamily="34" charset="0"/>
              </a:endParaRPr>
            </a:p>
          </p:txBody>
        </p:sp>
      </p:grpSp>
      <p:grpSp>
        <p:nvGrpSpPr>
          <p:cNvPr id="56" name="Group 55"/>
          <p:cNvGrpSpPr/>
          <p:nvPr/>
        </p:nvGrpSpPr>
        <p:grpSpPr>
          <a:xfrm>
            <a:off x="2019947" y="1657300"/>
            <a:ext cx="2377103" cy="4550586"/>
            <a:chOff x="2019368" y="1657048"/>
            <a:chExt cx="2377440" cy="4551232"/>
          </a:xfrm>
          <a:solidFill>
            <a:srgbClr val="00B0F0"/>
          </a:solidFill>
        </p:grpSpPr>
        <p:sp>
          <p:nvSpPr>
            <p:cNvPr id="57" name="Rectangle 56"/>
            <p:cNvSpPr/>
            <p:nvPr/>
          </p:nvSpPr>
          <p:spPr bwMode="auto">
            <a:xfrm>
              <a:off x="2186019" y="1657048"/>
              <a:ext cx="1737360" cy="4187396"/>
            </a:xfrm>
            <a:prstGeom prst="rect">
              <a:avLst/>
            </a:prstGeom>
            <a:grpFill/>
            <a:ln w="3175">
              <a:noFill/>
            </a:ln>
            <a:effectLst/>
          </p:spPr>
          <p:txBody>
            <a:bodyPr spcFirstLastPara="0" vert="horz" wrap="square" lIns="18278" tIns="91427" rIns="18278" bIns="91388" numCol="1" spcCol="1270" anchor="t" anchorCtr="0">
              <a:noAutofit/>
            </a:bodyPr>
            <a:lstStyle/>
            <a:p>
              <a:pPr algn="ctr" defTabSz="724873">
                <a:spcBef>
                  <a:spcPct val="0"/>
                </a:spcBef>
                <a:spcAft>
                  <a:spcPct val="35000"/>
                </a:spcAft>
                <a:defRPr/>
              </a:pPr>
              <a:r>
                <a:rPr lang="en-US" sz="1400" kern="0" dirty="0">
                  <a:solidFill>
                    <a:srgbClr val="FFFFFF"/>
                  </a:solidFill>
                  <a:latin typeface="Segoe UI Semibold" panose="020B0702040204020203" pitchFamily="34" charset="0"/>
                  <a:cs typeface="Segoe UI Semibold" panose="020B0702040204020203" pitchFamily="34" charset="0"/>
                </a:rPr>
                <a:t>Information Management and data ingestion</a:t>
              </a:r>
            </a:p>
          </p:txBody>
        </p:sp>
        <p:sp>
          <p:nvSpPr>
            <p:cNvPr id="58" name="Rectangle 57"/>
            <p:cNvSpPr/>
            <p:nvPr/>
          </p:nvSpPr>
          <p:spPr>
            <a:xfrm>
              <a:off x="2652706" y="4163687"/>
              <a:ext cx="1271016" cy="265009"/>
            </a:xfrm>
            <a:prstGeom prst="rect">
              <a:avLst/>
            </a:prstGeom>
            <a:grpFill/>
          </p:spPr>
          <p:txBody>
            <a:bodyPr wrap="square">
              <a:spAutoFit/>
            </a:bodyPr>
            <a:lstStyle/>
            <a:p>
              <a:pPr defTabSz="914225">
                <a:defRPr/>
              </a:pPr>
              <a:r>
                <a:rPr lang="en-US" sz="1100" kern="0" dirty="0">
                  <a:solidFill>
                    <a:srgbClr val="FFFFFF"/>
                  </a:solidFill>
                  <a:latin typeface="Segoe UI"/>
                  <a:cs typeface="Segoe UI Semilight" panose="020B0402040204020203" pitchFamily="34" charset="0"/>
                </a:rPr>
                <a:t>Event Hubs</a:t>
              </a:r>
              <a:endParaRPr lang="en-US" sz="1100" kern="0" dirty="0">
                <a:solidFill>
                  <a:srgbClr val="FFFFFF"/>
                </a:solidFill>
                <a:latin typeface="Segoe UI"/>
              </a:endParaRPr>
            </a:p>
          </p:txBody>
        </p:sp>
        <p:cxnSp>
          <p:nvCxnSpPr>
            <p:cNvPr id="59" name="Straight Connector 58"/>
            <p:cNvCxnSpPr/>
            <p:nvPr/>
          </p:nvCxnSpPr>
          <p:spPr>
            <a:xfrm>
              <a:off x="2019368" y="6118143"/>
              <a:ext cx="2377440" cy="0"/>
            </a:xfrm>
            <a:prstGeom prst="line">
              <a:avLst/>
            </a:prstGeom>
            <a:grpFill/>
            <a:ln w="28575" cap="flat" cmpd="sng" algn="ctr">
              <a:solidFill>
                <a:srgbClr val="002050"/>
              </a:solidFill>
              <a:prstDash val="solid"/>
              <a:headEnd type="none"/>
              <a:tailEnd type="none"/>
            </a:ln>
            <a:effectLst/>
          </p:spPr>
        </p:cxnSp>
        <p:grpSp>
          <p:nvGrpSpPr>
            <p:cNvPr id="60" name="Group 59"/>
            <p:cNvGrpSpPr/>
            <p:nvPr/>
          </p:nvGrpSpPr>
          <p:grpSpPr>
            <a:xfrm rot="13500000">
              <a:off x="4205167" y="6028138"/>
              <a:ext cx="181498" cy="178786"/>
              <a:chOff x="402446" y="5872915"/>
              <a:chExt cx="292608" cy="288235"/>
            </a:xfrm>
            <a:grpFill/>
          </p:grpSpPr>
          <p:cxnSp>
            <p:nvCxnSpPr>
              <p:cNvPr id="69" name="Straight Connector 68"/>
              <p:cNvCxnSpPr/>
              <p:nvPr/>
            </p:nvCxnSpPr>
            <p:spPr>
              <a:xfrm>
                <a:off x="412598" y="5872915"/>
                <a:ext cx="0" cy="288235"/>
              </a:xfrm>
              <a:prstGeom prst="line">
                <a:avLst/>
              </a:prstGeom>
              <a:grpFill/>
              <a:ln w="28575" cap="flat" cmpd="sng" algn="ctr">
                <a:solidFill>
                  <a:srgbClr val="002050"/>
                </a:solidFill>
                <a:prstDash val="solid"/>
                <a:headEnd type="none"/>
                <a:tailEnd type="none"/>
              </a:ln>
              <a:effectLst/>
            </p:spPr>
          </p:cxnSp>
          <p:cxnSp>
            <p:nvCxnSpPr>
              <p:cNvPr id="70" name="Straight Connector 69"/>
              <p:cNvCxnSpPr/>
              <p:nvPr/>
            </p:nvCxnSpPr>
            <p:spPr>
              <a:xfrm>
                <a:off x="402446" y="6148978"/>
                <a:ext cx="292608" cy="0"/>
              </a:xfrm>
              <a:prstGeom prst="line">
                <a:avLst/>
              </a:prstGeom>
              <a:grpFill/>
              <a:ln w="28575" cap="flat" cmpd="sng" algn="ctr">
                <a:solidFill>
                  <a:srgbClr val="002050"/>
                </a:solidFill>
                <a:prstDash val="solid"/>
                <a:headEnd type="none"/>
                <a:tailEnd type="none"/>
              </a:ln>
              <a:effectLst/>
            </p:spPr>
          </p:cxnSp>
        </p:grpSp>
        <p:sp>
          <p:nvSpPr>
            <p:cNvPr id="61" name="Rectangle 60"/>
            <p:cNvSpPr/>
            <p:nvPr/>
          </p:nvSpPr>
          <p:spPr>
            <a:xfrm>
              <a:off x="2652706" y="3600849"/>
              <a:ext cx="1271016" cy="265009"/>
            </a:xfrm>
            <a:prstGeom prst="rect">
              <a:avLst/>
            </a:prstGeom>
            <a:grpFill/>
          </p:spPr>
          <p:txBody>
            <a:bodyPr wrap="square">
              <a:spAutoFit/>
            </a:bodyPr>
            <a:lstStyle/>
            <a:p>
              <a:pPr defTabSz="914225">
                <a:defRPr/>
              </a:pPr>
              <a:r>
                <a:rPr lang="en-US" sz="1100" kern="0" dirty="0">
                  <a:solidFill>
                    <a:srgbClr val="FFFFFF"/>
                  </a:solidFill>
                  <a:latin typeface="Segoe UI"/>
                  <a:cs typeface="Segoe UI Semilight" panose="020B0402040204020203" pitchFamily="34" charset="0"/>
                </a:rPr>
                <a:t>Data Catalog</a:t>
              </a:r>
            </a:p>
          </p:txBody>
        </p:sp>
        <p:grpSp>
          <p:nvGrpSpPr>
            <p:cNvPr id="62" name="Group 61"/>
            <p:cNvGrpSpPr/>
            <p:nvPr/>
          </p:nvGrpSpPr>
          <p:grpSpPr>
            <a:xfrm>
              <a:off x="2337798" y="3119355"/>
              <a:ext cx="263564" cy="728467"/>
              <a:chOff x="3232150" y="382588"/>
              <a:chExt cx="5489575" cy="15172677"/>
            </a:xfrm>
            <a:grpFill/>
          </p:grpSpPr>
          <p:sp>
            <p:nvSpPr>
              <p:cNvPr id="66"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latin typeface="Segoe UI"/>
                </a:endParaRPr>
              </a:p>
            </p:txBody>
          </p:sp>
          <p:sp>
            <p:nvSpPr>
              <p:cNvPr id="67" name="Freeform 11"/>
              <p:cNvSpPr>
                <a:spLocks/>
              </p:cNvSpPr>
              <p:nvPr/>
            </p:nvSpPr>
            <p:spPr bwMode="auto">
              <a:xfrm>
                <a:off x="4281583" y="10614958"/>
                <a:ext cx="3704719" cy="4940307"/>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solidFill>
                <a:schemeClr val="bg1"/>
              </a:solidFill>
              <a:ln w="9525">
                <a:solidFill>
                  <a:schemeClr val="bg1"/>
                </a:solidFill>
                <a:round/>
                <a:headEnd/>
                <a:tailEnd/>
              </a:ln>
              <a:extLst/>
            </p:spPr>
            <p:style>
              <a:lnRef idx="2">
                <a:schemeClr val="accent4"/>
              </a:lnRef>
              <a:fillRef idx="1">
                <a:schemeClr val="lt1"/>
              </a:fillRef>
              <a:effectRef idx="0">
                <a:schemeClr val="accent4"/>
              </a:effectRef>
              <a:fontRef idx="minor">
                <a:schemeClr val="dk1"/>
              </a:fontRef>
            </p:style>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latin typeface="Segoe UI"/>
                </a:endParaRPr>
              </a:p>
            </p:txBody>
          </p:sp>
          <p:sp>
            <p:nvSpPr>
              <p:cNvPr id="68"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latin typeface="Segoe UI"/>
                </a:endParaRPr>
              </a:p>
            </p:txBody>
          </p:sp>
        </p:grpSp>
        <p:sp>
          <p:nvSpPr>
            <p:cNvPr id="63" name="Rectangle 62"/>
            <p:cNvSpPr/>
            <p:nvPr/>
          </p:nvSpPr>
          <p:spPr>
            <a:xfrm>
              <a:off x="2652706" y="2967275"/>
              <a:ext cx="1271016" cy="265009"/>
            </a:xfrm>
            <a:prstGeom prst="rect">
              <a:avLst/>
            </a:prstGeom>
            <a:grpFill/>
          </p:spPr>
          <p:txBody>
            <a:bodyPr wrap="square">
              <a:spAutoFit/>
            </a:bodyPr>
            <a:lstStyle/>
            <a:p>
              <a:pPr defTabSz="914225">
                <a:defRPr/>
              </a:pPr>
              <a:r>
                <a:rPr lang="en-US" sz="1100" kern="0" dirty="0">
                  <a:solidFill>
                    <a:srgbClr val="FFFFFF"/>
                  </a:solidFill>
                  <a:latin typeface="Segoe UI"/>
                  <a:cs typeface="Segoe UI Semilight" panose="020B0402040204020203" pitchFamily="34" charset="0"/>
                </a:rPr>
                <a:t>Data Factory </a:t>
              </a:r>
              <a:endParaRPr lang="en-US" sz="1100" kern="0" dirty="0">
                <a:solidFill>
                  <a:srgbClr val="FFFFFF"/>
                </a:solidFill>
                <a:latin typeface="Segoe UI"/>
              </a:endParaRPr>
            </a:p>
          </p:txBody>
        </p:sp>
        <p:sp>
          <p:nvSpPr>
            <p:cNvPr id="64" name="Freeform 63"/>
            <p:cNvSpPr/>
            <p:nvPr/>
          </p:nvSpPr>
          <p:spPr bwMode="auto">
            <a:xfrm>
              <a:off x="2333792" y="2906011"/>
              <a:ext cx="286460" cy="301030"/>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grpFill/>
            <a:ln>
              <a:solidFill>
                <a:schemeClr val="bg1"/>
              </a:solidFill>
              <a:headEnd type="none" w="med" len="med"/>
              <a:tailEnd type="none" w="med" len="med"/>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400" kern="0" dirty="0">
                <a:solidFill>
                  <a:srgbClr val="FFFFFF"/>
                </a:solidFill>
                <a:latin typeface="Segoe UI"/>
                <a:ea typeface="Segoe UI" pitchFamily="34" charset="0"/>
                <a:cs typeface="Segoe UI" pitchFamily="34" charset="0"/>
              </a:endParaRPr>
            </a:p>
          </p:txBody>
        </p:sp>
        <p:sp>
          <p:nvSpPr>
            <p:cNvPr id="65" name="Freeform 64"/>
            <p:cNvSpPr/>
            <p:nvPr/>
          </p:nvSpPr>
          <p:spPr bwMode="auto">
            <a:xfrm>
              <a:off x="2354114" y="4168612"/>
              <a:ext cx="231574" cy="242335"/>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grpFill/>
            <a:ln>
              <a:solidFill>
                <a:schemeClr val="bg1"/>
              </a:solidFill>
              <a:headEnd type="none" w="med" len="med"/>
              <a:tailEnd type="none" w="med" len="med"/>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400" kern="0" dirty="0">
                <a:solidFill>
                  <a:srgbClr val="FFFFFF"/>
                </a:solidFill>
                <a:latin typeface="Segoe UI"/>
                <a:ea typeface="Segoe UI" pitchFamily="34" charset="0"/>
                <a:cs typeface="Segoe UI" pitchFamily="34" charset="0"/>
              </a:endParaRPr>
            </a:p>
          </p:txBody>
        </p:sp>
      </p:grpSp>
      <p:sp>
        <p:nvSpPr>
          <p:cNvPr id="71" name="Rectangle 70"/>
          <p:cNvSpPr/>
          <p:nvPr/>
        </p:nvSpPr>
        <p:spPr bwMode="auto">
          <a:xfrm>
            <a:off x="5901579" y="1657300"/>
            <a:ext cx="1737113" cy="4186802"/>
          </a:xfrm>
          <a:prstGeom prst="rect">
            <a:avLst/>
          </a:prstGeom>
          <a:solidFill>
            <a:srgbClr val="00B0F0"/>
          </a:solidFill>
          <a:ln w="3175">
            <a:noFill/>
          </a:ln>
          <a:effectLst/>
        </p:spPr>
        <p:txBody>
          <a:bodyPr spcFirstLastPara="0" vert="horz" wrap="square" lIns="18278" tIns="91427" rIns="18278" bIns="91388" numCol="1" spcCol="1270" anchor="t" anchorCtr="0">
            <a:noAutofit/>
          </a:bodyPr>
          <a:lstStyle/>
          <a:p>
            <a:pPr algn="ctr" defTabSz="724873">
              <a:spcBef>
                <a:spcPct val="0"/>
              </a:spcBef>
              <a:spcAft>
                <a:spcPct val="35000"/>
              </a:spcAft>
              <a:defRPr/>
            </a:pPr>
            <a:r>
              <a:rPr lang="en-US" sz="1400" kern="0" dirty="0">
                <a:solidFill>
                  <a:srgbClr val="FFFFFF"/>
                </a:solidFill>
                <a:latin typeface="Segoe UI Semibold" panose="020B0702040204020203" pitchFamily="34" charset="0"/>
                <a:cs typeface="Segoe UI Semibold" panose="020B0702040204020203" pitchFamily="34" charset="0"/>
              </a:rPr>
              <a:t>Machine Learning and Analytics</a:t>
            </a:r>
          </a:p>
        </p:txBody>
      </p:sp>
      <p:sp>
        <p:nvSpPr>
          <p:cNvPr id="72" name="Rectangle 71"/>
          <p:cNvSpPr/>
          <p:nvPr/>
        </p:nvSpPr>
        <p:spPr>
          <a:xfrm>
            <a:off x="6340485" y="3996415"/>
            <a:ext cx="1268690" cy="610274"/>
          </a:xfrm>
          <a:prstGeom prst="rect">
            <a:avLst/>
          </a:prstGeom>
        </p:spPr>
        <p:txBody>
          <a:bodyPr wrap="square">
            <a:spAutoFit/>
          </a:bodyPr>
          <a:lstStyle/>
          <a:p>
            <a:pPr defTabSz="914225">
              <a:defRPr/>
            </a:pPr>
            <a:r>
              <a:rPr lang="en-US" sz="1100" kern="0" dirty="0">
                <a:solidFill>
                  <a:srgbClr val="FFFFFF"/>
                </a:solidFill>
                <a:latin typeface="Segoe UI"/>
                <a:cs typeface="Segoe UI Semilight" panose="020B0402040204020203" pitchFamily="34" charset="0"/>
              </a:rPr>
              <a:t>HDInsight </a:t>
            </a:r>
          </a:p>
          <a:p>
            <a:pPr defTabSz="914225">
              <a:defRPr/>
            </a:pPr>
            <a:r>
              <a:rPr lang="en-US" sz="1100" kern="0" dirty="0">
                <a:solidFill>
                  <a:srgbClr val="FFFFFF"/>
                </a:solidFill>
                <a:latin typeface="Segoe UI"/>
                <a:cs typeface="Segoe UI Semilight" panose="020B0402040204020203" pitchFamily="34" charset="0"/>
              </a:rPr>
              <a:t>(Hadoop and Spark)</a:t>
            </a:r>
          </a:p>
        </p:txBody>
      </p:sp>
      <p:sp>
        <p:nvSpPr>
          <p:cNvPr id="73" name="Rectangle 72"/>
          <p:cNvSpPr/>
          <p:nvPr/>
        </p:nvSpPr>
        <p:spPr>
          <a:xfrm>
            <a:off x="6340485" y="4724557"/>
            <a:ext cx="1268690" cy="264972"/>
          </a:xfrm>
          <a:prstGeom prst="rect">
            <a:avLst/>
          </a:prstGeom>
        </p:spPr>
        <p:txBody>
          <a:bodyPr wrap="square">
            <a:spAutoFit/>
          </a:bodyPr>
          <a:lstStyle/>
          <a:p>
            <a:pPr defTabSz="914225">
              <a:defRPr/>
            </a:pPr>
            <a:r>
              <a:rPr lang="en-US" sz="1100" kern="0" dirty="0">
                <a:solidFill>
                  <a:srgbClr val="FFFFFF"/>
                </a:solidFill>
                <a:latin typeface="Segoe UI"/>
                <a:cs typeface="Segoe UI Semilight" panose="020B0402040204020203" pitchFamily="34" charset="0"/>
              </a:rPr>
              <a:t>Stream Analytics</a:t>
            </a:r>
          </a:p>
        </p:txBody>
      </p:sp>
      <p:sp>
        <p:nvSpPr>
          <p:cNvPr id="74" name="Rectangle 73"/>
          <p:cNvSpPr/>
          <p:nvPr/>
        </p:nvSpPr>
        <p:spPr>
          <a:xfrm>
            <a:off x="5123105" y="5932483"/>
            <a:ext cx="1455528" cy="369332"/>
          </a:xfrm>
          <a:prstGeom prst="rect">
            <a:avLst/>
          </a:prstGeom>
        </p:spPr>
        <p:txBody>
          <a:bodyPr wrap="none" lIns="0" tIns="0" rIns="0" bIns="0" anchor="ctr">
            <a:spAutoFit/>
          </a:bodyPr>
          <a:lstStyle/>
          <a:p>
            <a:pPr algn="ctr" defTabSz="724873">
              <a:spcBef>
                <a:spcPct val="0"/>
              </a:spcBef>
              <a:spcAft>
                <a:spcPct val="35000"/>
              </a:spcAft>
              <a:defRPr/>
            </a:pPr>
            <a:r>
              <a:rPr lang="en-US" sz="2400" kern="0" dirty="0">
                <a:solidFill>
                  <a:srgbClr val="002050"/>
                </a:solidFill>
                <a:latin typeface="Segoe UI Light"/>
              </a:rPr>
              <a:t>Intelligence</a:t>
            </a:r>
            <a:endParaRPr lang="en-US" b="1" kern="0" spc="-30" dirty="0">
              <a:solidFill>
                <a:srgbClr val="002050"/>
              </a:solidFill>
              <a:latin typeface="Segoe UI Semilight" panose="020B0402040204020203" pitchFamily="34" charset="0"/>
              <a:cs typeface="Segoe UI Semilight" panose="020B0402040204020203" pitchFamily="34" charset="0"/>
            </a:endParaRPr>
          </a:p>
        </p:txBody>
      </p:sp>
      <p:sp>
        <p:nvSpPr>
          <p:cNvPr id="75" name="Rectangle 74"/>
          <p:cNvSpPr/>
          <p:nvPr/>
        </p:nvSpPr>
        <p:spPr>
          <a:xfrm>
            <a:off x="6340485" y="3497063"/>
            <a:ext cx="1268690" cy="437622"/>
          </a:xfrm>
          <a:prstGeom prst="rect">
            <a:avLst/>
          </a:prstGeom>
        </p:spPr>
        <p:txBody>
          <a:bodyPr wrap="square">
            <a:spAutoFit/>
          </a:bodyPr>
          <a:lstStyle/>
          <a:p>
            <a:pPr defTabSz="914225">
              <a:defRPr/>
            </a:pPr>
            <a:r>
              <a:rPr lang="en-US" sz="1100" kern="0" dirty="0">
                <a:solidFill>
                  <a:srgbClr val="FFFFFF"/>
                </a:solidFill>
                <a:latin typeface="Segoe UI"/>
                <a:cs typeface="Segoe UI Semilight" panose="020B0402040204020203" pitchFamily="34" charset="0"/>
              </a:rPr>
              <a:t>Data Lake Analytics</a:t>
            </a:r>
          </a:p>
        </p:txBody>
      </p:sp>
      <p:sp>
        <p:nvSpPr>
          <p:cNvPr id="76" name="Rectangle 75"/>
          <p:cNvSpPr/>
          <p:nvPr/>
        </p:nvSpPr>
        <p:spPr>
          <a:xfrm>
            <a:off x="6340485" y="2884800"/>
            <a:ext cx="1268690" cy="430887"/>
          </a:xfrm>
          <a:prstGeom prst="rect">
            <a:avLst/>
          </a:prstGeom>
        </p:spPr>
        <p:txBody>
          <a:bodyPr wrap="square">
            <a:spAutoFit/>
          </a:bodyPr>
          <a:lstStyle/>
          <a:p>
            <a:pPr defTabSz="914225">
              <a:defRPr/>
            </a:pPr>
            <a:r>
              <a:rPr lang="en-US" sz="1100" kern="0" dirty="0">
                <a:solidFill>
                  <a:srgbClr val="FFFFFF"/>
                </a:solidFill>
                <a:latin typeface="Segoe UI"/>
                <a:cs typeface="Segoe UI Semilight" panose="020B0402040204020203" pitchFamily="34" charset="0"/>
              </a:rPr>
              <a:t>Machine Learning</a:t>
            </a:r>
          </a:p>
        </p:txBody>
      </p:sp>
      <p:grpSp>
        <p:nvGrpSpPr>
          <p:cNvPr id="77" name="Group 76"/>
          <p:cNvGrpSpPr/>
          <p:nvPr/>
        </p:nvGrpSpPr>
        <p:grpSpPr>
          <a:xfrm>
            <a:off x="5982723" y="4726877"/>
            <a:ext cx="352605" cy="270867"/>
            <a:chOff x="1260022" y="5196402"/>
            <a:chExt cx="3273425" cy="2514600"/>
          </a:xfrm>
          <a:solidFill>
            <a:srgbClr val="FFFFFF"/>
          </a:solidFill>
        </p:grpSpPr>
        <p:sp>
          <p:nvSpPr>
            <p:cNvPr id="78" name="Freeform 77"/>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defRPr/>
              </a:pPr>
              <a:endParaRPr lang="en-US" dirty="0">
                <a:solidFill>
                  <a:srgbClr val="FFFFFF"/>
                </a:solidFill>
                <a:latin typeface="Segoe UI"/>
              </a:endParaRPr>
            </a:p>
          </p:txBody>
        </p:sp>
        <p:sp>
          <p:nvSpPr>
            <p:cNvPr id="79" name="Freeform 78"/>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defRPr/>
              </a:pPr>
              <a:endParaRPr lang="en-US" dirty="0">
                <a:solidFill>
                  <a:srgbClr val="FFFFFF"/>
                </a:solidFill>
                <a:latin typeface="Segoe UI"/>
              </a:endParaRPr>
            </a:p>
          </p:txBody>
        </p:sp>
        <p:sp>
          <p:nvSpPr>
            <p:cNvPr id="80" name="Freeform 79"/>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defRPr/>
              </a:pPr>
              <a:endParaRPr lang="en-US" dirty="0">
                <a:solidFill>
                  <a:srgbClr val="FFFFFF"/>
                </a:solidFill>
                <a:latin typeface="Segoe UI"/>
              </a:endParaRPr>
            </a:p>
          </p:txBody>
        </p:sp>
        <p:sp>
          <p:nvSpPr>
            <p:cNvPr id="81" name="Freeform 80"/>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defRPr/>
              </a:pPr>
              <a:endParaRPr lang="en-US" dirty="0">
                <a:solidFill>
                  <a:srgbClr val="FFFFFF"/>
                </a:solidFill>
                <a:latin typeface="Segoe UI"/>
              </a:endParaRPr>
            </a:p>
          </p:txBody>
        </p:sp>
      </p:grpSp>
      <p:sp>
        <p:nvSpPr>
          <p:cNvPr id="82" name="Freeform 81"/>
          <p:cNvSpPr>
            <a:spLocks/>
          </p:cNvSpPr>
          <p:nvPr/>
        </p:nvSpPr>
        <p:spPr bwMode="auto">
          <a:xfrm>
            <a:off x="5984038" y="4157957"/>
            <a:ext cx="366328" cy="277218"/>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rgbClr val="FFFFFF"/>
          </a:solidFill>
          <a:ln w="6350">
            <a:noFill/>
          </a:ln>
        </p:spPr>
        <p:txBody>
          <a:bodyPr vert="horz" wrap="square" lIns="91427" tIns="45713" rIns="91427" bIns="45713" numCol="1" anchor="t" anchorCtr="0" compatLnSpc="1">
            <a:prstTxWarp prst="textNoShape">
              <a:avLst/>
            </a:prstTxWarp>
          </a:bodyPr>
          <a:lstStyle/>
          <a:p>
            <a:pPr defTabSz="914225">
              <a:defRPr/>
            </a:pPr>
            <a:endParaRPr lang="en-US" sz="1600" kern="0" dirty="0">
              <a:solidFill>
                <a:srgbClr val="FFFFFF"/>
              </a:solidFill>
              <a:latin typeface="Segoe UI"/>
            </a:endParaRPr>
          </a:p>
        </p:txBody>
      </p:sp>
      <p:sp>
        <p:nvSpPr>
          <p:cNvPr id="83" name="Freeform 82"/>
          <p:cNvSpPr/>
          <p:nvPr/>
        </p:nvSpPr>
        <p:spPr bwMode="auto">
          <a:xfrm flipH="1">
            <a:off x="6027281" y="2963023"/>
            <a:ext cx="267214" cy="282779"/>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400" kern="0" dirty="0">
              <a:solidFill>
                <a:srgbClr val="FFFFFF"/>
              </a:solidFill>
              <a:latin typeface="Segoe UI"/>
              <a:ea typeface="Segoe UI" pitchFamily="34" charset="0"/>
              <a:cs typeface="Segoe UI" pitchFamily="34" charset="0"/>
            </a:endParaRPr>
          </a:p>
        </p:txBody>
      </p:sp>
      <p:sp>
        <p:nvSpPr>
          <p:cNvPr id="84" name="Rectangle 83"/>
          <p:cNvSpPr/>
          <p:nvPr/>
        </p:nvSpPr>
        <p:spPr bwMode="auto">
          <a:xfrm>
            <a:off x="4048756" y="1639909"/>
            <a:ext cx="1737113" cy="4186802"/>
          </a:xfrm>
          <a:prstGeom prst="rect">
            <a:avLst/>
          </a:prstGeom>
          <a:solidFill>
            <a:srgbClr val="00B0F0"/>
          </a:solidFill>
          <a:ln w="3175">
            <a:noFill/>
          </a:ln>
          <a:effectLst/>
        </p:spPr>
        <p:txBody>
          <a:bodyPr spcFirstLastPara="0" vert="horz" wrap="square" lIns="18278" tIns="91427" rIns="18278" bIns="91388" numCol="1" spcCol="1270" anchor="t" anchorCtr="0">
            <a:noAutofit/>
          </a:bodyPr>
          <a:lstStyle/>
          <a:p>
            <a:pPr algn="ctr" defTabSz="724873">
              <a:spcBef>
                <a:spcPct val="0"/>
              </a:spcBef>
              <a:spcAft>
                <a:spcPct val="35000"/>
              </a:spcAft>
              <a:defRPr/>
            </a:pPr>
            <a:r>
              <a:rPr lang="en-US" sz="1400" kern="0" dirty="0">
                <a:solidFill>
                  <a:srgbClr val="FFFFFF"/>
                </a:solidFill>
                <a:latin typeface="Segoe UI Semibold" panose="020B0702040204020203" pitchFamily="34" charset="0"/>
                <a:cs typeface="Segoe UI Semibold" panose="020B0702040204020203" pitchFamily="34" charset="0"/>
              </a:rPr>
              <a:t>Big Data Stores</a:t>
            </a:r>
          </a:p>
        </p:txBody>
      </p:sp>
      <p:sp>
        <p:nvSpPr>
          <p:cNvPr id="85" name="Rectangle 84"/>
          <p:cNvSpPr/>
          <p:nvPr/>
        </p:nvSpPr>
        <p:spPr>
          <a:xfrm>
            <a:off x="4508918" y="3499573"/>
            <a:ext cx="1270836" cy="437622"/>
          </a:xfrm>
          <a:prstGeom prst="rect">
            <a:avLst/>
          </a:prstGeom>
        </p:spPr>
        <p:txBody>
          <a:bodyPr wrap="square">
            <a:spAutoFit/>
          </a:bodyPr>
          <a:lstStyle/>
          <a:p>
            <a:pPr defTabSz="914225">
              <a:defRPr/>
            </a:pPr>
            <a:r>
              <a:rPr lang="en-US" sz="1100" kern="0" dirty="0">
                <a:solidFill>
                  <a:srgbClr val="FFFFFF"/>
                </a:solidFill>
                <a:latin typeface="Segoe UI"/>
                <a:cs typeface="Segoe UI Semilight" panose="020B0402040204020203" pitchFamily="34" charset="0"/>
              </a:rPr>
              <a:t>SQL Data </a:t>
            </a:r>
          </a:p>
          <a:p>
            <a:pPr defTabSz="914225">
              <a:defRPr/>
            </a:pPr>
            <a:r>
              <a:rPr lang="en-US" sz="1100" kern="0" dirty="0">
                <a:solidFill>
                  <a:srgbClr val="FFFFFF"/>
                </a:solidFill>
                <a:latin typeface="Segoe UI"/>
                <a:cs typeface="Segoe UI Semilight" panose="020B0402040204020203" pitchFamily="34" charset="0"/>
              </a:rPr>
              <a:t>Warehouse</a:t>
            </a:r>
          </a:p>
        </p:txBody>
      </p:sp>
      <p:sp>
        <p:nvSpPr>
          <p:cNvPr id="86" name="Rectangle 85"/>
          <p:cNvSpPr/>
          <p:nvPr/>
        </p:nvSpPr>
        <p:spPr>
          <a:xfrm>
            <a:off x="4495103" y="2971936"/>
            <a:ext cx="1270836" cy="264972"/>
          </a:xfrm>
          <a:prstGeom prst="rect">
            <a:avLst/>
          </a:prstGeom>
        </p:spPr>
        <p:txBody>
          <a:bodyPr wrap="square">
            <a:spAutoFit/>
          </a:bodyPr>
          <a:lstStyle/>
          <a:p>
            <a:pPr defTabSz="914225">
              <a:defRPr/>
            </a:pPr>
            <a:r>
              <a:rPr lang="en-US" sz="1100" kern="0" dirty="0">
                <a:solidFill>
                  <a:srgbClr val="FFFFFF"/>
                </a:solidFill>
                <a:latin typeface="Segoe UI"/>
                <a:cs typeface="Segoe UI Semilight" panose="020B0402040204020203" pitchFamily="34" charset="0"/>
              </a:rPr>
              <a:t>Data Lake Store</a:t>
            </a:r>
          </a:p>
        </p:txBody>
      </p:sp>
      <p:grpSp>
        <p:nvGrpSpPr>
          <p:cNvPr id="87" name="Group 86"/>
          <p:cNvGrpSpPr/>
          <p:nvPr/>
        </p:nvGrpSpPr>
        <p:grpSpPr>
          <a:xfrm>
            <a:off x="4187259" y="3562980"/>
            <a:ext cx="248221" cy="304012"/>
            <a:chOff x="-3084513" y="3390510"/>
            <a:chExt cx="2716213" cy="3363913"/>
          </a:xfrm>
          <a:solidFill>
            <a:srgbClr val="FFFFFF"/>
          </a:solidFill>
        </p:grpSpPr>
        <p:sp>
          <p:nvSpPr>
            <p:cNvPr id="88"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latin typeface="Segoe UI"/>
              </a:endParaRPr>
            </a:p>
          </p:txBody>
        </p:sp>
        <p:sp>
          <p:nvSpPr>
            <p:cNvPr id="89"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latin typeface="Segoe UI"/>
              </a:endParaRPr>
            </a:p>
          </p:txBody>
        </p:sp>
      </p:grpSp>
      <p:grpSp>
        <p:nvGrpSpPr>
          <p:cNvPr id="90" name="Group 89"/>
          <p:cNvGrpSpPr/>
          <p:nvPr/>
        </p:nvGrpSpPr>
        <p:grpSpPr>
          <a:xfrm>
            <a:off x="497487" y="1666445"/>
            <a:ext cx="1854474" cy="4611255"/>
            <a:chOff x="496692" y="1666194"/>
            <a:chExt cx="1854737" cy="4611909"/>
          </a:xfrm>
        </p:grpSpPr>
        <p:sp>
          <p:nvSpPr>
            <p:cNvPr id="91" name="TextBox 90"/>
            <p:cNvSpPr txBox="1"/>
            <p:nvPr/>
          </p:nvSpPr>
          <p:spPr>
            <a:xfrm>
              <a:off x="1261370" y="1927965"/>
              <a:ext cx="1090059" cy="563250"/>
            </a:xfrm>
            <a:prstGeom prst="rect">
              <a:avLst/>
            </a:prstGeom>
            <a:noFill/>
          </p:spPr>
          <p:txBody>
            <a:bodyPr wrap="square" lIns="0" tIns="146262" rIns="182828" bIns="146262" rtlCol="0">
              <a:noAutofit/>
            </a:bodyPr>
            <a:lstStyle/>
            <a:p>
              <a:pPr defTabSz="932384">
                <a:lnSpc>
                  <a:spcPct val="90000"/>
                </a:lnSpc>
                <a:spcAft>
                  <a:spcPts val="600"/>
                </a:spcAft>
                <a:defRPr/>
              </a:pPr>
              <a:r>
                <a:rPr lang="en-US" sz="1200" kern="0" spc="-30" dirty="0">
                  <a:solidFill>
                    <a:srgbClr val="002050"/>
                  </a:solidFill>
                  <a:latin typeface="Segoe UI Semilight" panose="020B0402040204020203" pitchFamily="34" charset="0"/>
                  <a:cs typeface="Segoe UI Semilight" panose="020B0402040204020203" pitchFamily="34" charset="0"/>
                </a:rPr>
                <a:t>Data </a:t>
              </a:r>
              <a:br>
                <a:rPr lang="en-US" sz="1200" kern="0" spc="-30" dirty="0">
                  <a:solidFill>
                    <a:srgbClr val="002050"/>
                  </a:solidFill>
                  <a:latin typeface="Segoe UI Semilight" panose="020B0402040204020203" pitchFamily="34" charset="0"/>
                  <a:cs typeface="Segoe UI Semilight" panose="020B0402040204020203" pitchFamily="34" charset="0"/>
                </a:rPr>
              </a:br>
              <a:r>
                <a:rPr lang="en-US" sz="1200" kern="0" spc="-30" dirty="0">
                  <a:solidFill>
                    <a:srgbClr val="002050"/>
                  </a:solidFill>
                  <a:latin typeface="Segoe UI Semilight" panose="020B0402040204020203" pitchFamily="34" charset="0"/>
                  <a:cs typeface="Segoe UI Semilight" panose="020B0402040204020203" pitchFamily="34" charset="0"/>
                </a:rPr>
                <a:t>Sources</a:t>
              </a:r>
            </a:p>
          </p:txBody>
        </p:sp>
        <p:sp>
          <p:nvSpPr>
            <p:cNvPr id="92" name="TextBox 91"/>
            <p:cNvSpPr txBox="1"/>
            <p:nvPr/>
          </p:nvSpPr>
          <p:spPr>
            <a:xfrm>
              <a:off x="1214236" y="3529646"/>
              <a:ext cx="1090059" cy="579230"/>
            </a:xfrm>
            <a:prstGeom prst="rect">
              <a:avLst/>
            </a:prstGeom>
            <a:noFill/>
          </p:spPr>
          <p:txBody>
            <a:bodyPr wrap="square" lIns="0" tIns="146262" rIns="182828" bIns="146262" rtlCol="0">
              <a:noAutofit/>
            </a:bodyPr>
            <a:lstStyle/>
            <a:p>
              <a:pPr defTabSz="932384">
                <a:lnSpc>
                  <a:spcPct val="90000"/>
                </a:lnSpc>
                <a:spcBef>
                  <a:spcPct val="0"/>
                </a:spcBef>
                <a:spcAft>
                  <a:spcPts val="600"/>
                </a:spcAft>
                <a:defRPr/>
              </a:pPr>
              <a:r>
                <a:rPr lang="en-US" sz="1200" kern="0" spc="-30" dirty="0">
                  <a:solidFill>
                    <a:srgbClr val="002050"/>
                  </a:solidFill>
                  <a:latin typeface="Segoe UI Semilight" panose="020B0402040204020203" pitchFamily="34" charset="0"/>
                  <a:cs typeface="Segoe UI Semilight" panose="020B0402040204020203" pitchFamily="34" charset="0"/>
                </a:rPr>
                <a:t>Apps</a:t>
              </a:r>
            </a:p>
          </p:txBody>
        </p:sp>
        <p:sp>
          <p:nvSpPr>
            <p:cNvPr id="93" name="TextBox 92"/>
            <p:cNvSpPr txBox="1"/>
            <p:nvPr/>
          </p:nvSpPr>
          <p:spPr>
            <a:xfrm>
              <a:off x="1261370" y="4995093"/>
              <a:ext cx="974964" cy="616531"/>
            </a:xfrm>
            <a:prstGeom prst="rect">
              <a:avLst/>
            </a:prstGeom>
            <a:noFill/>
          </p:spPr>
          <p:txBody>
            <a:bodyPr wrap="square" lIns="0" tIns="146262" rIns="182828" bIns="146262" rtlCol="0">
              <a:noAutofit/>
            </a:bodyPr>
            <a:lstStyle/>
            <a:p>
              <a:pPr defTabSz="932384">
                <a:lnSpc>
                  <a:spcPct val="90000"/>
                </a:lnSpc>
                <a:spcBef>
                  <a:spcPct val="0"/>
                </a:spcBef>
                <a:spcAft>
                  <a:spcPts val="600"/>
                </a:spcAft>
                <a:defRPr/>
              </a:pPr>
              <a:r>
                <a:rPr lang="en-US" sz="1200" kern="0" spc="-30" dirty="0">
                  <a:solidFill>
                    <a:srgbClr val="002050"/>
                  </a:solidFill>
                  <a:latin typeface="Segoe UI Semilight" panose="020B0402040204020203" pitchFamily="34" charset="0"/>
                  <a:cs typeface="Segoe UI Semilight" panose="020B0402040204020203" pitchFamily="34" charset="0"/>
                </a:rPr>
                <a:t>Sensors </a:t>
              </a:r>
              <a:br>
                <a:rPr lang="en-US" sz="1200" kern="0" spc="-30" dirty="0">
                  <a:solidFill>
                    <a:srgbClr val="002050"/>
                  </a:solidFill>
                  <a:latin typeface="Segoe UI Semilight" panose="020B0402040204020203" pitchFamily="34" charset="0"/>
                  <a:cs typeface="Segoe UI Semilight" panose="020B0402040204020203" pitchFamily="34" charset="0"/>
                </a:rPr>
              </a:br>
              <a:r>
                <a:rPr lang="en-US" sz="1200" kern="0" spc="-30" dirty="0">
                  <a:solidFill>
                    <a:srgbClr val="002050"/>
                  </a:solidFill>
                  <a:latin typeface="Segoe UI Semilight" panose="020B0402040204020203" pitchFamily="34" charset="0"/>
                  <a:cs typeface="Segoe UI Semilight" panose="020B0402040204020203" pitchFamily="34" charset="0"/>
                </a:rPr>
                <a:t>and </a:t>
              </a:r>
              <a:br>
                <a:rPr lang="en-US" sz="1200" kern="0" spc="-30" dirty="0">
                  <a:solidFill>
                    <a:srgbClr val="002050"/>
                  </a:solidFill>
                  <a:latin typeface="Segoe UI Semilight" panose="020B0402040204020203" pitchFamily="34" charset="0"/>
                  <a:cs typeface="Segoe UI Semilight" panose="020B0402040204020203" pitchFamily="34" charset="0"/>
                </a:rPr>
              </a:br>
              <a:r>
                <a:rPr lang="en-US" sz="1200" kern="0" spc="-30" dirty="0">
                  <a:solidFill>
                    <a:srgbClr val="002050"/>
                  </a:solidFill>
                  <a:latin typeface="Segoe UI Semilight" panose="020B0402040204020203" pitchFamily="34" charset="0"/>
                  <a:cs typeface="Segoe UI Semilight" panose="020B0402040204020203" pitchFamily="34" charset="0"/>
                </a:rPr>
                <a:t>devices</a:t>
              </a:r>
            </a:p>
          </p:txBody>
        </p:sp>
        <p:sp>
          <p:nvSpPr>
            <p:cNvPr id="94" name="Rectangle 93"/>
            <p:cNvSpPr/>
            <p:nvPr/>
          </p:nvSpPr>
          <p:spPr>
            <a:xfrm>
              <a:off x="813890" y="5956959"/>
              <a:ext cx="933597" cy="321144"/>
            </a:xfrm>
            <a:prstGeom prst="rect">
              <a:avLst/>
            </a:prstGeom>
          </p:spPr>
          <p:txBody>
            <a:bodyPr wrap="none" lIns="0" tIns="0" rIns="0" bIns="0" anchor="ctr">
              <a:noAutofit/>
            </a:bodyPr>
            <a:lstStyle/>
            <a:p>
              <a:pPr defTabSz="914225">
                <a:lnSpc>
                  <a:spcPct val="90000"/>
                </a:lnSpc>
                <a:defRPr/>
              </a:pPr>
              <a:r>
                <a:rPr lang="en-US" sz="2400" kern="0" dirty="0">
                  <a:solidFill>
                    <a:srgbClr val="002050"/>
                  </a:solidFill>
                  <a:latin typeface="Segoe UI Light"/>
                </a:rPr>
                <a:t>Data</a:t>
              </a:r>
            </a:p>
          </p:txBody>
        </p:sp>
        <p:grpSp>
          <p:nvGrpSpPr>
            <p:cNvPr id="95" name="Group 94"/>
            <p:cNvGrpSpPr/>
            <p:nvPr/>
          </p:nvGrpSpPr>
          <p:grpSpPr>
            <a:xfrm>
              <a:off x="1789019" y="1666194"/>
              <a:ext cx="308472" cy="4199169"/>
              <a:chOff x="1776319" y="1369399"/>
              <a:chExt cx="308472" cy="3830198"/>
            </a:xfrm>
          </p:grpSpPr>
          <p:sp>
            <p:nvSpPr>
              <p:cNvPr id="110" name="Freeform 109"/>
              <p:cNvSpPr/>
              <p:nvPr/>
            </p:nvSpPr>
            <p:spPr bwMode="auto">
              <a:xfrm>
                <a:off x="1960934" y="1369399"/>
                <a:ext cx="123857" cy="3830198"/>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cap="flat" cmpd="sng" algn="ctr">
                <a:solidFill>
                  <a:srgbClr val="0078D7"/>
                </a:solidFill>
                <a:prstDash val="solid"/>
                <a:headEnd type="none" w="med" len="med"/>
                <a:tailEnd type="none" w="med" len="med"/>
              </a:ln>
              <a:effectLst/>
            </p:spPr>
            <p:txBody>
              <a:bodyPr rtlCol="0" anchor="ctr"/>
              <a:lstStyle/>
              <a:p>
                <a:pPr algn="ctr" defTabSz="914225">
                  <a:defRPr/>
                </a:pPr>
                <a:endParaRPr lang="en-US" kern="0" dirty="0">
                  <a:solidFill>
                    <a:srgbClr val="FFFFFF"/>
                  </a:solidFill>
                  <a:latin typeface="Segoe UI"/>
                </a:endParaRPr>
              </a:p>
            </p:txBody>
          </p:sp>
          <p:cxnSp>
            <p:nvCxnSpPr>
              <p:cNvPr id="111" name="Straight Connector 110"/>
              <p:cNvCxnSpPr/>
              <p:nvPr/>
            </p:nvCxnSpPr>
            <p:spPr>
              <a:xfrm>
                <a:off x="1776319" y="3284498"/>
                <a:ext cx="308472" cy="0"/>
              </a:xfrm>
              <a:prstGeom prst="line">
                <a:avLst/>
              </a:prstGeom>
              <a:noFill/>
              <a:ln w="12700" cap="flat" cmpd="sng" algn="ctr">
                <a:solidFill>
                  <a:srgbClr val="0078D7"/>
                </a:solidFill>
                <a:prstDash val="solid"/>
                <a:headEnd type="none"/>
                <a:tailEnd type="none"/>
              </a:ln>
              <a:effectLst/>
            </p:spPr>
          </p:cxnSp>
        </p:grpSp>
        <p:sp>
          <p:nvSpPr>
            <p:cNvPr id="96" name="Freeform 34"/>
            <p:cNvSpPr>
              <a:spLocks noChangeAspect="1" noEditPoints="1"/>
            </p:cNvSpPr>
            <p:nvPr/>
          </p:nvSpPr>
          <p:spPr bwMode="auto">
            <a:xfrm>
              <a:off x="496692" y="2050430"/>
              <a:ext cx="530352" cy="419571"/>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rgbClr val="FFFFFF"/>
            </a:solidFill>
            <a:ln w="15240">
              <a:solidFill>
                <a:srgbClr val="0078D7"/>
              </a:solidFill>
            </a:ln>
          </p:spPr>
          <p:txBody>
            <a:bodyPr vert="horz" wrap="square" lIns="91414" tIns="45706" rIns="91414" bIns="45706" numCol="1" anchor="t" anchorCtr="0" compatLnSpc="1">
              <a:prstTxWarp prst="textNoShape">
                <a:avLst/>
              </a:prstTxWarp>
            </a:bodyPr>
            <a:lstStyle/>
            <a:p>
              <a:pPr defTabSz="932384">
                <a:defRPr/>
              </a:pPr>
              <a:endParaRPr lang="en-US" kern="0" dirty="0">
                <a:solidFill>
                  <a:srgbClr val="333333"/>
                </a:solidFill>
                <a:latin typeface="Segoe UI"/>
              </a:endParaRPr>
            </a:p>
          </p:txBody>
        </p:sp>
        <p:grpSp>
          <p:nvGrpSpPr>
            <p:cNvPr id="97" name="Group 96"/>
            <p:cNvGrpSpPr/>
            <p:nvPr/>
          </p:nvGrpSpPr>
          <p:grpSpPr>
            <a:xfrm>
              <a:off x="532519" y="3627377"/>
              <a:ext cx="522040" cy="533547"/>
              <a:chOff x="2308225" y="7734300"/>
              <a:chExt cx="1368425" cy="1398588"/>
            </a:xfrm>
            <a:solidFill>
              <a:srgbClr val="0078D7"/>
            </a:solidFill>
          </p:grpSpPr>
          <p:sp>
            <p:nvSpPr>
              <p:cNvPr id="99" name="Freeform 97"/>
              <p:cNvSpPr>
                <a:spLocks/>
              </p:cNvSpPr>
              <p:nvPr/>
            </p:nvSpPr>
            <p:spPr bwMode="auto">
              <a:xfrm>
                <a:off x="2574925" y="8740775"/>
                <a:ext cx="174625" cy="41275"/>
              </a:xfrm>
              <a:custGeom>
                <a:avLst/>
                <a:gdLst>
                  <a:gd name="T0" fmla="*/ 96 w 110"/>
                  <a:gd name="T1" fmla="*/ 26 h 26"/>
                  <a:gd name="T2" fmla="*/ 14 w 110"/>
                  <a:gd name="T3" fmla="*/ 26 h 26"/>
                  <a:gd name="T4" fmla="*/ 14 w 110"/>
                  <a:gd name="T5" fmla="*/ 26 h 26"/>
                  <a:gd name="T6" fmla="*/ 8 w 110"/>
                  <a:gd name="T7" fmla="*/ 24 h 26"/>
                  <a:gd name="T8" fmla="*/ 4 w 110"/>
                  <a:gd name="T9" fmla="*/ 22 h 26"/>
                  <a:gd name="T10" fmla="*/ 2 w 110"/>
                  <a:gd name="T11" fmla="*/ 18 h 26"/>
                  <a:gd name="T12" fmla="*/ 0 w 110"/>
                  <a:gd name="T13" fmla="*/ 12 h 26"/>
                  <a:gd name="T14" fmla="*/ 0 w 110"/>
                  <a:gd name="T15" fmla="*/ 12 h 26"/>
                  <a:gd name="T16" fmla="*/ 2 w 110"/>
                  <a:gd name="T17" fmla="*/ 8 h 26"/>
                  <a:gd name="T18" fmla="*/ 4 w 110"/>
                  <a:gd name="T19" fmla="*/ 4 h 26"/>
                  <a:gd name="T20" fmla="*/ 8 w 110"/>
                  <a:gd name="T21" fmla="*/ 2 h 26"/>
                  <a:gd name="T22" fmla="*/ 14 w 110"/>
                  <a:gd name="T23" fmla="*/ 0 h 26"/>
                  <a:gd name="T24" fmla="*/ 96 w 110"/>
                  <a:gd name="T25" fmla="*/ 0 h 26"/>
                  <a:gd name="T26" fmla="*/ 96 w 110"/>
                  <a:gd name="T27" fmla="*/ 0 h 26"/>
                  <a:gd name="T28" fmla="*/ 102 w 110"/>
                  <a:gd name="T29" fmla="*/ 2 h 26"/>
                  <a:gd name="T30" fmla="*/ 106 w 110"/>
                  <a:gd name="T31" fmla="*/ 4 h 26"/>
                  <a:gd name="T32" fmla="*/ 108 w 110"/>
                  <a:gd name="T33" fmla="*/ 8 h 26"/>
                  <a:gd name="T34" fmla="*/ 110 w 110"/>
                  <a:gd name="T35" fmla="*/ 12 h 26"/>
                  <a:gd name="T36" fmla="*/ 110 w 110"/>
                  <a:gd name="T37" fmla="*/ 12 h 26"/>
                  <a:gd name="T38" fmla="*/ 108 w 110"/>
                  <a:gd name="T39" fmla="*/ 18 h 26"/>
                  <a:gd name="T40" fmla="*/ 106 w 110"/>
                  <a:gd name="T41" fmla="*/ 22 h 26"/>
                  <a:gd name="T42" fmla="*/ 102 w 110"/>
                  <a:gd name="T43" fmla="*/ 24 h 26"/>
                  <a:gd name="T44" fmla="*/ 96 w 110"/>
                  <a:gd name="T45" fmla="*/ 26 h 26"/>
                  <a:gd name="T46" fmla="*/ 96 w 110"/>
                  <a:gd name="T4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0" h="26">
                    <a:moveTo>
                      <a:pt x="96" y="26"/>
                    </a:moveTo>
                    <a:lnTo>
                      <a:pt x="14" y="26"/>
                    </a:lnTo>
                    <a:lnTo>
                      <a:pt x="14" y="26"/>
                    </a:lnTo>
                    <a:lnTo>
                      <a:pt x="8" y="24"/>
                    </a:lnTo>
                    <a:lnTo>
                      <a:pt x="4" y="22"/>
                    </a:lnTo>
                    <a:lnTo>
                      <a:pt x="2" y="18"/>
                    </a:lnTo>
                    <a:lnTo>
                      <a:pt x="0" y="12"/>
                    </a:lnTo>
                    <a:lnTo>
                      <a:pt x="0" y="12"/>
                    </a:lnTo>
                    <a:lnTo>
                      <a:pt x="2" y="8"/>
                    </a:lnTo>
                    <a:lnTo>
                      <a:pt x="4" y="4"/>
                    </a:lnTo>
                    <a:lnTo>
                      <a:pt x="8" y="2"/>
                    </a:lnTo>
                    <a:lnTo>
                      <a:pt x="14" y="0"/>
                    </a:lnTo>
                    <a:lnTo>
                      <a:pt x="96" y="0"/>
                    </a:lnTo>
                    <a:lnTo>
                      <a:pt x="96" y="0"/>
                    </a:lnTo>
                    <a:lnTo>
                      <a:pt x="102" y="2"/>
                    </a:lnTo>
                    <a:lnTo>
                      <a:pt x="106" y="4"/>
                    </a:lnTo>
                    <a:lnTo>
                      <a:pt x="108" y="8"/>
                    </a:lnTo>
                    <a:lnTo>
                      <a:pt x="110" y="12"/>
                    </a:lnTo>
                    <a:lnTo>
                      <a:pt x="110" y="12"/>
                    </a:lnTo>
                    <a:lnTo>
                      <a:pt x="108" y="18"/>
                    </a:lnTo>
                    <a:lnTo>
                      <a:pt x="106" y="22"/>
                    </a:lnTo>
                    <a:lnTo>
                      <a:pt x="102" y="24"/>
                    </a:lnTo>
                    <a:lnTo>
                      <a:pt x="96" y="26"/>
                    </a:lnTo>
                    <a:lnTo>
                      <a:pt x="96"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latin typeface="Segoe UI"/>
                </a:endParaRPr>
              </a:p>
            </p:txBody>
          </p:sp>
          <p:sp>
            <p:nvSpPr>
              <p:cNvPr id="100" name="Freeform 98"/>
              <p:cNvSpPr>
                <a:spLocks noEditPoints="1"/>
              </p:cNvSpPr>
              <p:nvPr/>
            </p:nvSpPr>
            <p:spPr bwMode="auto">
              <a:xfrm>
                <a:off x="2428875" y="8096250"/>
                <a:ext cx="219075" cy="215900"/>
              </a:xfrm>
              <a:custGeom>
                <a:avLst/>
                <a:gdLst>
                  <a:gd name="T0" fmla="*/ 120 w 138"/>
                  <a:gd name="T1" fmla="*/ 136 h 136"/>
                  <a:gd name="T2" fmla="*/ 18 w 138"/>
                  <a:gd name="T3" fmla="*/ 136 h 136"/>
                  <a:gd name="T4" fmla="*/ 18 w 138"/>
                  <a:gd name="T5" fmla="*/ 136 h 136"/>
                  <a:gd name="T6" fmla="*/ 12 w 138"/>
                  <a:gd name="T7" fmla="*/ 136 h 136"/>
                  <a:gd name="T8" fmla="*/ 6 w 138"/>
                  <a:gd name="T9" fmla="*/ 132 h 136"/>
                  <a:gd name="T10" fmla="*/ 2 w 138"/>
                  <a:gd name="T11" fmla="*/ 126 h 136"/>
                  <a:gd name="T12" fmla="*/ 0 w 138"/>
                  <a:gd name="T13" fmla="*/ 118 h 136"/>
                  <a:gd name="T14" fmla="*/ 0 w 138"/>
                  <a:gd name="T15" fmla="*/ 18 h 136"/>
                  <a:gd name="T16" fmla="*/ 0 w 138"/>
                  <a:gd name="T17" fmla="*/ 18 h 136"/>
                  <a:gd name="T18" fmla="*/ 2 w 138"/>
                  <a:gd name="T19" fmla="*/ 10 h 136"/>
                  <a:gd name="T20" fmla="*/ 6 w 138"/>
                  <a:gd name="T21" fmla="*/ 4 h 136"/>
                  <a:gd name="T22" fmla="*/ 12 w 138"/>
                  <a:gd name="T23" fmla="*/ 2 h 136"/>
                  <a:gd name="T24" fmla="*/ 18 w 138"/>
                  <a:gd name="T25" fmla="*/ 0 h 136"/>
                  <a:gd name="T26" fmla="*/ 120 w 138"/>
                  <a:gd name="T27" fmla="*/ 0 h 136"/>
                  <a:gd name="T28" fmla="*/ 120 w 138"/>
                  <a:gd name="T29" fmla="*/ 0 h 136"/>
                  <a:gd name="T30" fmla="*/ 126 w 138"/>
                  <a:gd name="T31" fmla="*/ 2 h 136"/>
                  <a:gd name="T32" fmla="*/ 132 w 138"/>
                  <a:gd name="T33" fmla="*/ 4 h 136"/>
                  <a:gd name="T34" fmla="*/ 136 w 138"/>
                  <a:gd name="T35" fmla="*/ 10 h 136"/>
                  <a:gd name="T36" fmla="*/ 138 w 138"/>
                  <a:gd name="T37" fmla="*/ 18 h 136"/>
                  <a:gd name="T38" fmla="*/ 138 w 138"/>
                  <a:gd name="T39" fmla="*/ 118 h 136"/>
                  <a:gd name="T40" fmla="*/ 138 w 138"/>
                  <a:gd name="T41" fmla="*/ 118 h 136"/>
                  <a:gd name="T42" fmla="*/ 136 w 138"/>
                  <a:gd name="T43" fmla="*/ 126 h 136"/>
                  <a:gd name="T44" fmla="*/ 132 w 138"/>
                  <a:gd name="T45" fmla="*/ 132 h 136"/>
                  <a:gd name="T46" fmla="*/ 126 w 138"/>
                  <a:gd name="T47" fmla="*/ 136 h 136"/>
                  <a:gd name="T48" fmla="*/ 120 w 138"/>
                  <a:gd name="T49" fmla="*/ 136 h 136"/>
                  <a:gd name="T50" fmla="*/ 120 w 138"/>
                  <a:gd name="T51" fmla="*/ 136 h 136"/>
                  <a:gd name="T52" fmla="*/ 26 w 138"/>
                  <a:gd name="T53" fmla="*/ 112 h 136"/>
                  <a:gd name="T54" fmla="*/ 112 w 138"/>
                  <a:gd name="T55" fmla="*/ 112 h 136"/>
                  <a:gd name="T56" fmla="*/ 112 w 138"/>
                  <a:gd name="T57" fmla="*/ 24 h 136"/>
                  <a:gd name="T58" fmla="*/ 26 w 138"/>
                  <a:gd name="T59" fmla="*/ 24 h 136"/>
                  <a:gd name="T60" fmla="*/ 26 w 138"/>
                  <a:gd name="T61" fmla="*/ 11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6">
                    <a:moveTo>
                      <a:pt x="120" y="136"/>
                    </a:moveTo>
                    <a:lnTo>
                      <a:pt x="18" y="136"/>
                    </a:lnTo>
                    <a:lnTo>
                      <a:pt x="18" y="136"/>
                    </a:lnTo>
                    <a:lnTo>
                      <a:pt x="12" y="136"/>
                    </a:lnTo>
                    <a:lnTo>
                      <a:pt x="6" y="132"/>
                    </a:lnTo>
                    <a:lnTo>
                      <a:pt x="2" y="126"/>
                    </a:lnTo>
                    <a:lnTo>
                      <a:pt x="0" y="118"/>
                    </a:lnTo>
                    <a:lnTo>
                      <a:pt x="0" y="18"/>
                    </a:lnTo>
                    <a:lnTo>
                      <a:pt x="0" y="18"/>
                    </a:lnTo>
                    <a:lnTo>
                      <a:pt x="2" y="10"/>
                    </a:lnTo>
                    <a:lnTo>
                      <a:pt x="6" y="4"/>
                    </a:lnTo>
                    <a:lnTo>
                      <a:pt x="12" y="2"/>
                    </a:lnTo>
                    <a:lnTo>
                      <a:pt x="18" y="0"/>
                    </a:lnTo>
                    <a:lnTo>
                      <a:pt x="120" y="0"/>
                    </a:lnTo>
                    <a:lnTo>
                      <a:pt x="120" y="0"/>
                    </a:lnTo>
                    <a:lnTo>
                      <a:pt x="126" y="2"/>
                    </a:lnTo>
                    <a:lnTo>
                      <a:pt x="132" y="4"/>
                    </a:lnTo>
                    <a:lnTo>
                      <a:pt x="136" y="10"/>
                    </a:lnTo>
                    <a:lnTo>
                      <a:pt x="138" y="18"/>
                    </a:lnTo>
                    <a:lnTo>
                      <a:pt x="138" y="118"/>
                    </a:lnTo>
                    <a:lnTo>
                      <a:pt x="138" y="118"/>
                    </a:lnTo>
                    <a:lnTo>
                      <a:pt x="136" y="126"/>
                    </a:lnTo>
                    <a:lnTo>
                      <a:pt x="132" y="132"/>
                    </a:lnTo>
                    <a:lnTo>
                      <a:pt x="126" y="136"/>
                    </a:lnTo>
                    <a:lnTo>
                      <a:pt x="120" y="136"/>
                    </a:lnTo>
                    <a:lnTo>
                      <a:pt x="120" y="136"/>
                    </a:lnTo>
                    <a:close/>
                    <a:moveTo>
                      <a:pt x="26" y="112"/>
                    </a:moveTo>
                    <a:lnTo>
                      <a:pt x="112" y="112"/>
                    </a:lnTo>
                    <a:lnTo>
                      <a:pt x="112" y="24"/>
                    </a:lnTo>
                    <a:lnTo>
                      <a:pt x="26" y="24"/>
                    </a:lnTo>
                    <a:lnTo>
                      <a:pt x="2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latin typeface="Segoe UI"/>
                </a:endParaRPr>
              </a:p>
            </p:txBody>
          </p:sp>
          <p:sp>
            <p:nvSpPr>
              <p:cNvPr id="101" name="Freeform 99"/>
              <p:cNvSpPr>
                <a:spLocks noEditPoints="1"/>
              </p:cNvSpPr>
              <p:nvPr/>
            </p:nvSpPr>
            <p:spPr bwMode="auto">
              <a:xfrm>
                <a:off x="2428875" y="7845425"/>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8 h 138"/>
                  <a:gd name="T12" fmla="*/ 0 w 138"/>
                  <a:gd name="T13" fmla="*/ 120 h 138"/>
                  <a:gd name="T14" fmla="*/ 0 w 138"/>
                  <a:gd name="T15" fmla="*/ 20 h 138"/>
                  <a:gd name="T16" fmla="*/ 0 w 138"/>
                  <a:gd name="T17" fmla="*/ 20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20 h 138"/>
                  <a:gd name="T38" fmla="*/ 138 w 138"/>
                  <a:gd name="T39" fmla="*/ 120 h 138"/>
                  <a:gd name="T40" fmla="*/ 138 w 138"/>
                  <a:gd name="T41" fmla="*/ 120 h 138"/>
                  <a:gd name="T42" fmla="*/ 136 w 138"/>
                  <a:gd name="T43" fmla="*/ 128 h 138"/>
                  <a:gd name="T44" fmla="*/ 132 w 138"/>
                  <a:gd name="T45" fmla="*/ 132 h 138"/>
                  <a:gd name="T46" fmla="*/ 126 w 138"/>
                  <a:gd name="T47" fmla="*/ 136 h 138"/>
                  <a:gd name="T48" fmla="*/ 120 w 138"/>
                  <a:gd name="T49" fmla="*/ 138 h 138"/>
                  <a:gd name="T50" fmla="*/ 120 w 138"/>
                  <a:gd name="T51" fmla="*/ 138 h 138"/>
                  <a:gd name="T52" fmla="*/ 26 w 138"/>
                  <a:gd name="T53" fmla="*/ 114 h 138"/>
                  <a:gd name="T54" fmla="*/ 112 w 138"/>
                  <a:gd name="T55" fmla="*/ 114 h 138"/>
                  <a:gd name="T56" fmla="*/ 112 w 138"/>
                  <a:gd name="T57" fmla="*/ 26 h 138"/>
                  <a:gd name="T58" fmla="*/ 26 w 138"/>
                  <a:gd name="T59" fmla="*/ 26 h 138"/>
                  <a:gd name="T60" fmla="*/ 26 w 138"/>
                  <a:gd name="T61" fmla="*/ 114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8"/>
                    </a:lnTo>
                    <a:lnTo>
                      <a:pt x="0" y="120"/>
                    </a:lnTo>
                    <a:lnTo>
                      <a:pt x="0" y="20"/>
                    </a:lnTo>
                    <a:lnTo>
                      <a:pt x="0" y="20"/>
                    </a:lnTo>
                    <a:lnTo>
                      <a:pt x="2" y="12"/>
                    </a:lnTo>
                    <a:lnTo>
                      <a:pt x="6" y="6"/>
                    </a:lnTo>
                    <a:lnTo>
                      <a:pt x="12" y="2"/>
                    </a:lnTo>
                    <a:lnTo>
                      <a:pt x="18" y="0"/>
                    </a:lnTo>
                    <a:lnTo>
                      <a:pt x="120" y="0"/>
                    </a:lnTo>
                    <a:lnTo>
                      <a:pt x="120" y="0"/>
                    </a:lnTo>
                    <a:lnTo>
                      <a:pt x="126" y="2"/>
                    </a:lnTo>
                    <a:lnTo>
                      <a:pt x="132" y="6"/>
                    </a:lnTo>
                    <a:lnTo>
                      <a:pt x="136" y="12"/>
                    </a:lnTo>
                    <a:lnTo>
                      <a:pt x="138" y="20"/>
                    </a:lnTo>
                    <a:lnTo>
                      <a:pt x="138" y="120"/>
                    </a:lnTo>
                    <a:lnTo>
                      <a:pt x="138" y="120"/>
                    </a:lnTo>
                    <a:lnTo>
                      <a:pt x="136" y="128"/>
                    </a:lnTo>
                    <a:lnTo>
                      <a:pt x="132" y="132"/>
                    </a:lnTo>
                    <a:lnTo>
                      <a:pt x="126" y="136"/>
                    </a:lnTo>
                    <a:lnTo>
                      <a:pt x="120" y="138"/>
                    </a:lnTo>
                    <a:lnTo>
                      <a:pt x="120" y="138"/>
                    </a:lnTo>
                    <a:close/>
                    <a:moveTo>
                      <a:pt x="26" y="114"/>
                    </a:moveTo>
                    <a:lnTo>
                      <a:pt x="112" y="114"/>
                    </a:lnTo>
                    <a:lnTo>
                      <a:pt x="112" y="26"/>
                    </a:lnTo>
                    <a:lnTo>
                      <a:pt x="26" y="26"/>
                    </a:lnTo>
                    <a:lnTo>
                      <a:pt x="2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latin typeface="Segoe UI"/>
                </a:endParaRPr>
              </a:p>
            </p:txBody>
          </p:sp>
          <p:sp>
            <p:nvSpPr>
              <p:cNvPr id="102" name="Freeform 100"/>
              <p:cNvSpPr>
                <a:spLocks noEditPoints="1"/>
              </p:cNvSpPr>
              <p:nvPr/>
            </p:nvSpPr>
            <p:spPr bwMode="auto">
              <a:xfrm>
                <a:off x="2676525" y="7845425"/>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8 h 138"/>
                  <a:gd name="T12" fmla="*/ 0 w 138"/>
                  <a:gd name="T13" fmla="*/ 120 h 138"/>
                  <a:gd name="T14" fmla="*/ 0 w 138"/>
                  <a:gd name="T15" fmla="*/ 20 h 138"/>
                  <a:gd name="T16" fmla="*/ 0 w 138"/>
                  <a:gd name="T17" fmla="*/ 20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20 h 138"/>
                  <a:gd name="T38" fmla="*/ 138 w 138"/>
                  <a:gd name="T39" fmla="*/ 120 h 138"/>
                  <a:gd name="T40" fmla="*/ 138 w 138"/>
                  <a:gd name="T41" fmla="*/ 120 h 138"/>
                  <a:gd name="T42" fmla="*/ 136 w 138"/>
                  <a:gd name="T43" fmla="*/ 128 h 138"/>
                  <a:gd name="T44" fmla="*/ 132 w 138"/>
                  <a:gd name="T45" fmla="*/ 132 h 138"/>
                  <a:gd name="T46" fmla="*/ 126 w 138"/>
                  <a:gd name="T47" fmla="*/ 136 h 138"/>
                  <a:gd name="T48" fmla="*/ 120 w 138"/>
                  <a:gd name="T49" fmla="*/ 138 h 138"/>
                  <a:gd name="T50" fmla="*/ 120 w 138"/>
                  <a:gd name="T51" fmla="*/ 138 h 138"/>
                  <a:gd name="T52" fmla="*/ 26 w 138"/>
                  <a:gd name="T53" fmla="*/ 114 h 138"/>
                  <a:gd name="T54" fmla="*/ 112 w 138"/>
                  <a:gd name="T55" fmla="*/ 114 h 138"/>
                  <a:gd name="T56" fmla="*/ 112 w 138"/>
                  <a:gd name="T57" fmla="*/ 26 h 138"/>
                  <a:gd name="T58" fmla="*/ 26 w 138"/>
                  <a:gd name="T59" fmla="*/ 26 h 138"/>
                  <a:gd name="T60" fmla="*/ 26 w 138"/>
                  <a:gd name="T61" fmla="*/ 114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8"/>
                    </a:lnTo>
                    <a:lnTo>
                      <a:pt x="0" y="120"/>
                    </a:lnTo>
                    <a:lnTo>
                      <a:pt x="0" y="20"/>
                    </a:lnTo>
                    <a:lnTo>
                      <a:pt x="0" y="20"/>
                    </a:lnTo>
                    <a:lnTo>
                      <a:pt x="2" y="12"/>
                    </a:lnTo>
                    <a:lnTo>
                      <a:pt x="6" y="6"/>
                    </a:lnTo>
                    <a:lnTo>
                      <a:pt x="12" y="2"/>
                    </a:lnTo>
                    <a:lnTo>
                      <a:pt x="18" y="0"/>
                    </a:lnTo>
                    <a:lnTo>
                      <a:pt x="120" y="0"/>
                    </a:lnTo>
                    <a:lnTo>
                      <a:pt x="120" y="0"/>
                    </a:lnTo>
                    <a:lnTo>
                      <a:pt x="126" y="2"/>
                    </a:lnTo>
                    <a:lnTo>
                      <a:pt x="132" y="6"/>
                    </a:lnTo>
                    <a:lnTo>
                      <a:pt x="136" y="12"/>
                    </a:lnTo>
                    <a:lnTo>
                      <a:pt x="138" y="20"/>
                    </a:lnTo>
                    <a:lnTo>
                      <a:pt x="138" y="120"/>
                    </a:lnTo>
                    <a:lnTo>
                      <a:pt x="138" y="120"/>
                    </a:lnTo>
                    <a:lnTo>
                      <a:pt x="136" y="128"/>
                    </a:lnTo>
                    <a:lnTo>
                      <a:pt x="132" y="132"/>
                    </a:lnTo>
                    <a:lnTo>
                      <a:pt x="126" y="136"/>
                    </a:lnTo>
                    <a:lnTo>
                      <a:pt x="120" y="138"/>
                    </a:lnTo>
                    <a:lnTo>
                      <a:pt x="120" y="138"/>
                    </a:lnTo>
                    <a:close/>
                    <a:moveTo>
                      <a:pt x="26" y="114"/>
                    </a:moveTo>
                    <a:lnTo>
                      <a:pt x="112" y="114"/>
                    </a:lnTo>
                    <a:lnTo>
                      <a:pt x="112" y="26"/>
                    </a:lnTo>
                    <a:lnTo>
                      <a:pt x="26" y="26"/>
                    </a:lnTo>
                    <a:lnTo>
                      <a:pt x="2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latin typeface="Segoe UI"/>
                </a:endParaRPr>
              </a:p>
            </p:txBody>
          </p:sp>
          <p:sp>
            <p:nvSpPr>
              <p:cNvPr id="103" name="Freeform 101"/>
              <p:cNvSpPr>
                <a:spLocks noEditPoints="1"/>
              </p:cNvSpPr>
              <p:nvPr/>
            </p:nvSpPr>
            <p:spPr bwMode="auto">
              <a:xfrm>
                <a:off x="2428875" y="8343900"/>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6 h 138"/>
                  <a:gd name="T12" fmla="*/ 0 w 138"/>
                  <a:gd name="T13" fmla="*/ 120 h 138"/>
                  <a:gd name="T14" fmla="*/ 0 w 138"/>
                  <a:gd name="T15" fmla="*/ 18 h 138"/>
                  <a:gd name="T16" fmla="*/ 0 w 138"/>
                  <a:gd name="T17" fmla="*/ 18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18 h 138"/>
                  <a:gd name="T38" fmla="*/ 138 w 138"/>
                  <a:gd name="T39" fmla="*/ 120 h 138"/>
                  <a:gd name="T40" fmla="*/ 138 w 138"/>
                  <a:gd name="T41" fmla="*/ 120 h 138"/>
                  <a:gd name="T42" fmla="*/ 136 w 138"/>
                  <a:gd name="T43" fmla="*/ 126 h 138"/>
                  <a:gd name="T44" fmla="*/ 132 w 138"/>
                  <a:gd name="T45" fmla="*/ 132 h 138"/>
                  <a:gd name="T46" fmla="*/ 126 w 138"/>
                  <a:gd name="T47" fmla="*/ 136 h 138"/>
                  <a:gd name="T48" fmla="*/ 120 w 138"/>
                  <a:gd name="T49" fmla="*/ 138 h 138"/>
                  <a:gd name="T50" fmla="*/ 120 w 138"/>
                  <a:gd name="T51" fmla="*/ 138 h 138"/>
                  <a:gd name="T52" fmla="*/ 26 w 138"/>
                  <a:gd name="T53" fmla="*/ 112 h 138"/>
                  <a:gd name="T54" fmla="*/ 112 w 138"/>
                  <a:gd name="T55" fmla="*/ 112 h 138"/>
                  <a:gd name="T56" fmla="*/ 112 w 138"/>
                  <a:gd name="T57" fmla="*/ 26 h 138"/>
                  <a:gd name="T58" fmla="*/ 26 w 138"/>
                  <a:gd name="T59" fmla="*/ 26 h 138"/>
                  <a:gd name="T60" fmla="*/ 26 w 138"/>
                  <a:gd name="T61" fmla="*/ 11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6"/>
                    </a:lnTo>
                    <a:lnTo>
                      <a:pt x="0" y="120"/>
                    </a:lnTo>
                    <a:lnTo>
                      <a:pt x="0" y="18"/>
                    </a:lnTo>
                    <a:lnTo>
                      <a:pt x="0" y="18"/>
                    </a:lnTo>
                    <a:lnTo>
                      <a:pt x="2" y="12"/>
                    </a:lnTo>
                    <a:lnTo>
                      <a:pt x="6" y="6"/>
                    </a:lnTo>
                    <a:lnTo>
                      <a:pt x="12" y="2"/>
                    </a:lnTo>
                    <a:lnTo>
                      <a:pt x="18" y="0"/>
                    </a:lnTo>
                    <a:lnTo>
                      <a:pt x="120" y="0"/>
                    </a:lnTo>
                    <a:lnTo>
                      <a:pt x="120" y="0"/>
                    </a:lnTo>
                    <a:lnTo>
                      <a:pt x="126" y="2"/>
                    </a:lnTo>
                    <a:lnTo>
                      <a:pt x="132" y="6"/>
                    </a:lnTo>
                    <a:lnTo>
                      <a:pt x="136" y="12"/>
                    </a:lnTo>
                    <a:lnTo>
                      <a:pt x="138" y="18"/>
                    </a:lnTo>
                    <a:lnTo>
                      <a:pt x="138" y="120"/>
                    </a:lnTo>
                    <a:lnTo>
                      <a:pt x="138" y="120"/>
                    </a:lnTo>
                    <a:lnTo>
                      <a:pt x="136" y="126"/>
                    </a:lnTo>
                    <a:lnTo>
                      <a:pt x="132" y="132"/>
                    </a:lnTo>
                    <a:lnTo>
                      <a:pt x="126" y="136"/>
                    </a:lnTo>
                    <a:lnTo>
                      <a:pt x="120" y="138"/>
                    </a:lnTo>
                    <a:lnTo>
                      <a:pt x="120" y="138"/>
                    </a:lnTo>
                    <a:close/>
                    <a:moveTo>
                      <a:pt x="26" y="112"/>
                    </a:moveTo>
                    <a:lnTo>
                      <a:pt x="112" y="112"/>
                    </a:lnTo>
                    <a:lnTo>
                      <a:pt x="112" y="26"/>
                    </a:lnTo>
                    <a:lnTo>
                      <a:pt x="26" y="26"/>
                    </a:lnTo>
                    <a:lnTo>
                      <a:pt x="2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latin typeface="Segoe UI"/>
                </a:endParaRPr>
              </a:p>
            </p:txBody>
          </p:sp>
          <p:sp>
            <p:nvSpPr>
              <p:cNvPr id="104" name="Freeform 102"/>
              <p:cNvSpPr>
                <a:spLocks noEditPoints="1"/>
              </p:cNvSpPr>
              <p:nvPr/>
            </p:nvSpPr>
            <p:spPr bwMode="auto">
              <a:xfrm>
                <a:off x="2676525" y="8343900"/>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6 h 138"/>
                  <a:gd name="T12" fmla="*/ 0 w 138"/>
                  <a:gd name="T13" fmla="*/ 120 h 138"/>
                  <a:gd name="T14" fmla="*/ 0 w 138"/>
                  <a:gd name="T15" fmla="*/ 18 h 138"/>
                  <a:gd name="T16" fmla="*/ 0 w 138"/>
                  <a:gd name="T17" fmla="*/ 18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18 h 138"/>
                  <a:gd name="T38" fmla="*/ 138 w 138"/>
                  <a:gd name="T39" fmla="*/ 120 h 138"/>
                  <a:gd name="T40" fmla="*/ 138 w 138"/>
                  <a:gd name="T41" fmla="*/ 120 h 138"/>
                  <a:gd name="T42" fmla="*/ 136 w 138"/>
                  <a:gd name="T43" fmla="*/ 126 h 138"/>
                  <a:gd name="T44" fmla="*/ 132 w 138"/>
                  <a:gd name="T45" fmla="*/ 132 h 138"/>
                  <a:gd name="T46" fmla="*/ 126 w 138"/>
                  <a:gd name="T47" fmla="*/ 136 h 138"/>
                  <a:gd name="T48" fmla="*/ 120 w 138"/>
                  <a:gd name="T49" fmla="*/ 138 h 138"/>
                  <a:gd name="T50" fmla="*/ 120 w 138"/>
                  <a:gd name="T51" fmla="*/ 138 h 138"/>
                  <a:gd name="T52" fmla="*/ 26 w 138"/>
                  <a:gd name="T53" fmla="*/ 112 h 138"/>
                  <a:gd name="T54" fmla="*/ 112 w 138"/>
                  <a:gd name="T55" fmla="*/ 112 h 138"/>
                  <a:gd name="T56" fmla="*/ 112 w 138"/>
                  <a:gd name="T57" fmla="*/ 26 h 138"/>
                  <a:gd name="T58" fmla="*/ 26 w 138"/>
                  <a:gd name="T59" fmla="*/ 26 h 138"/>
                  <a:gd name="T60" fmla="*/ 26 w 138"/>
                  <a:gd name="T61" fmla="*/ 11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6"/>
                    </a:lnTo>
                    <a:lnTo>
                      <a:pt x="0" y="120"/>
                    </a:lnTo>
                    <a:lnTo>
                      <a:pt x="0" y="18"/>
                    </a:lnTo>
                    <a:lnTo>
                      <a:pt x="0" y="18"/>
                    </a:lnTo>
                    <a:lnTo>
                      <a:pt x="2" y="12"/>
                    </a:lnTo>
                    <a:lnTo>
                      <a:pt x="6" y="6"/>
                    </a:lnTo>
                    <a:lnTo>
                      <a:pt x="12" y="2"/>
                    </a:lnTo>
                    <a:lnTo>
                      <a:pt x="18" y="0"/>
                    </a:lnTo>
                    <a:lnTo>
                      <a:pt x="120" y="0"/>
                    </a:lnTo>
                    <a:lnTo>
                      <a:pt x="120" y="0"/>
                    </a:lnTo>
                    <a:lnTo>
                      <a:pt x="126" y="2"/>
                    </a:lnTo>
                    <a:lnTo>
                      <a:pt x="132" y="6"/>
                    </a:lnTo>
                    <a:lnTo>
                      <a:pt x="136" y="12"/>
                    </a:lnTo>
                    <a:lnTo>
                      <a:pt x="138" y="18"/>
                    </a:lnTo>
                    <a:lnTo>
                      <a:pt x="138" y="120"/>
                    </a:lnTo>
                    <a:lnTo>
                      <a:pt x="138" y="120"/>
                    </a:lnTo>
                    <a:lnTo>
                      <a:pt x="136" y="126"/>
                    </a:lnTo>
                    <a:lnTo>
                      <a:pt x="132" y="132"/>
                    </a:lnTo>
                    <a:lnTo>
                      <a:pt x="126" y="136"/>
                    </a:lnTo>
                    <a:lnTo>
                      <a:pt x="120" y="138"/>
                    </a:lnTo>
                    <a:lnTo>
                      <a:pt x="120" y="138"/>
                    </a:lnTo>
                    <a:close/>
                    <a:moveTo>
                      <a:pt x="26" y="112"/>
                    </a:moveTo>
                    <a:lnTo>
                      <a:pt x="112" y="112"/>
                    </a:lnTo>
                    <a:lnTo>
                      <a:pt x="112" y="26"/>
                    </a:lnTo>
                    <a:lnTo>
                      <a:pt x="26" y="26"/>
                    </a:lnTo>
                    <a:lnTo>
                      <a:pt x="2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latin typeface="Segoe UI"/>
                </a:endParaRPr>
              </a:p>
            </p:txBody>
          </p:sp>
          <p:sp>
            <p:nvSpPr>
              <p:cNvPr id="105" name="Freeform 103"/>
              <p:cNvSpPr>
                <a:spLocks/>
              </p:cNvSpPr>
              <p:nvPr/>
            </p:nvSpPr>
            <p:spPr bwMode="auto">
              <a:xfrm>
                <a:off x="2330450" y="8623300"/>
                <a:ext cx="422275" cy="41275"/>
              </a:xfrm>
              <a:custGeom>
                <a:avLst/>
                <a:gdLst>
                  <a:gd name="T0" fmla="*/ 264 w 266"/>
                  <a:gd name="T1" fmla="*/ 4 h 26"/>
                  <a:gd name="T2" fmla="*/ 264 w 266"/>
                  <a:gd name="T3" fmla="*/ 2 h 26"/>
                  <a:gd name="T4" fmla="*/ 266 w 266"/>
                  <a:gd name="T5" fmla="*/ 0 h 26"/>
                  <a:gd name="T6" fmla="*/ 0 w 266"/>
                  <a:gd name="T7" fmla="*/ 0 h 26"/>
                  <a:gd name="T8" fmla="*/ 0 w 266"/>
                  <a:gd name="T9" fmla="*/ 26 h 26"/>
                  <a:gd name="T10" fmla="*/ 250 w 266"/>
                  <a:gd name="T11" fmla="*/ 26 h 26"/>
                  <a:gd name="T12" fmla="*/ 250 w 266"/>
                  <a:gd name="T13" fmla="*/ 26 h 26"/>
                  <a:gd name="T14" fmla="*/ 256 w 266"/>
                  <a:gd name="T15" fmla="*/ 12 h 26"/>
                  <a:gd name="T16" fmla="*/ 264 w 266"/>
                  <a:gd name="T17" fmla="*/ 4 h 26"/>
                  <a:gd name="T18" fmla="*/ 264 w 266"/>
                  <a:gd name="T19"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6" h="26">
                    <a:moveTo>
                      <a:pt x="264" y="4"/>
                    </a:moveTo>
                    <a:lnTo>
                      <a:pt x="264" y="2"/>
                    </a:lnTo>
                    <a:lnTo>
                      <a:pt x="266" y="0"/>
                    </a:lnTo>
                    <a:lnTo>
                      <a:pt x="0" y="0"/>
                    </a:lnTo>
                    <a:lnTo>
                      <a:pt x="0" y="26"/>
                    </a:lnTo>
                    <a:lnTo>
                      <a:pt x="250" y="26"/>
                    </a:lnTo>
                    <a:lnTo>
                      <a:pt x="250" y="26"/>
                    </a:lnTo>
                    <a:lnTo>
                      <a:pt x="256" y="12"/>
                    </a:lnTo>
                    <a:lnTo>
                      <a:pt x="264" y="4"/>
                    </a:lnTo>
                    <a:lnTo>
                      <a:pt x="26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latin typeface="Segoe UI"/>
                </a:endParaRPr>
              </a:p>
            </p:txBody>
          </p:sp>
          <p:sp>
            <p:nvSpPr>
              <p:cNvPr id="106" name="Freeform 104"/>
              <p:cNvSpPr>
                <a:spLocks/>
              </p:cNvSpPr>
              <p:nvPr/>
            </p:nvSpPr>
            <p:spPr bwMode="auto">
              <a:xfrm>
                <a:off x="2676525" y="8096250"/>
                <a:ext cx="219075" cy="215900"/>
              </a:xfrm>
              <a:custGeom>
                <a:avLst/>
                <a:gdLst>
                  <a:gd name="T0" fmla="*/ 86 w 138"/>
                  <a:gd name="T1" fmla="*/ 112 h 136"/>
                  <a:gd name="T2" fmla="*/ 26 w 138"/>
                  <a:gd name="T3" fmla="*/ 112 h 136"/>
                  <a:gd name="T4" fmla="*/ 26 w 138"/>
                  <a:gd name="T5" fmla="*/ 24 h 136"/>
                  <a:gd name="T6" fmla="*/ 112 w 138"/>
                  <a:gd name="T7" fmla="*/ 24 h 136"/>
                  <a:gd name="T8" fmla="*/ 112 w 138"/>
                  <a:gd name="T9" fmla="*/ 38 h 136"/>
                  <a:gd name="T10" fmla="*/ 114 w 138"/>
                  <a:gd name="T11" fmla="*/ 38 h 136"/>
                  <a:gd name="T12" fmla="*/ 114 w 138"/>
                  <a:gd name="T13" fmla="*/ 38 h 136"/>
                  <a:gd name="T14" fmla="*/ 118 w 138"/>
                  <a:gd name="T15" fmla="*/ 38 h 136"/>
                  <a:gd name="T16" fmla="*/ 124 w 138"/>
                  <a:gd name="T17" fmla="*/ 38 h 136"/>
                  <a:gd name="T18" fmla="*/ 124 w 138"/>
                  <a:gd name="T19" fmla="*/ 38 h 136"/>
                  <a:gd name="T20" fmla="*/ 138 w 138"/>
                  <a:gd name="T21" fmla="*/ 50 h 136"/>
                  <a:gd name="T22" fmla="*/ 138 w 138"/>
                  <a:gd name="T23" fmla="*/ 18 h 136"/>
                  <a:gd name="T24" fmla="*/ 138 w 138"/>
                  <a:gd name="T25" fmla="*/ 18 h 136"/>
                  <a:gd name="T26" fmla="*/ 136 w 138"/>
                  <a:gd name="T27" fmla="*/ 10 h 136"/>
                  <a:gd name="T28" fmla="*/ 132 w 138"/>
                  <a:gd name="T29" fmla="*/ 4 h 136"/>
                  <a:gd name="T30" fmla="*/ 126 w 138"/>
                  <a:gd name="T31" fmla="*/ 2 h 136"/>
                  <a:gd name="T32" fmla="*/ 120 w 138"/>
                  <a:gd name="T33" fmla="*/ 0 h 136"/>
                  <a:gd name="T34" fmla="*/ 18 w 138"/>
                  <a:gd name="T35" fmla="*/ 0 h 136"/>
                  <a:gd name="T36" fmla="*/ 18 w 138"/>
                  <a:gd name="T37" fmla="*/ 0 h 136"/>
                  <a:gd name="T38" fmla="*/ 12 w 138"/>
                  <a:gd name="T39" fmla="*/ 2 h 136"/>
                  <a:gd name="T40" fmla="*/ 6 w 138"/>
                  <a:gd name="T41" fmla="*/ 4 h 136"/>
                  <a:gd name="T42" fmla="*/ 2 w 138"/>
                  <a:gd name="T43" fmla="*/ 10 h 136"/>
                  <a:gd name="T44" fmla="*/ 0 w 138"/>
                  <a:gd name="T45" fmla="*/ 18 h 136"/>
                  <a:gd name="T46" fmla="*/ 0 w 138"/>
                  <a:gd name="T47" fmla="*/ 118 h 136"/>
                  <a:gd name="T48" fmla="*/ 0 w 138"/>
                  <a:gd name="T49" fmla="*/ 118 h 136"/>
                  <a:gd name="T50" fmla="*/ 2 w 138"/>
                  <a:gd name="T51" fmla="*/ 126 h 136"/>
                  <a:gd name="T52" fmla="*/ 6 w 138"/>
                  <a:gd name="T53" fmla="*/ 132 h 136"/>
                  <a:gd name="T54" fmla="*/ 12 w 138"/>
                  <a:gd name="T55" fmla="*/ 136 h 136"/>
                  <a:gd name="T56" fmla="*/ 18 w 138"/>
                  <a:gd name="T57" fmla="*/ 136 h 136"/>
                  <a:gd name="T58" fmla="*/ 102 w 138"/>
                  <a:gd name="T59" fmla="*/ 136 h 136"/>
                  <a:gd name="T60" fmla="*/ 102 w 138"/>
                  <a:gd name="T61" fmla="*/ 136 h 136"/>
                  <a:gd name="T62" fmla="*/ 86 w 138"/>
                  <a:gd name="T63" fmla="*/ 112 h 136"/>
                  <a:gd name="T64" fmla="*/ 86 w 138"/>
                  <a:gd name="T65" fmla="*/ 11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8" h="136">
                    <a:moveTo>
                      <a:pt x="86" y="112"/>
                    </a:moveTo>
                    <a:lnTo>
                      <a:pt x="26" y="112"/>
                    </a:lnTo>
                    <a:lnTo>
                      <a:pt x="26" y="24"/>
                    </a:lnTo>
                    <a:lnTo>
                      <a:pt x="112" y="24"/>
                    </a:lnTo>
                    <a:lnTo>
                      <a:pt x="112" y="38"/>
                    </a:lnTo>
                    <a:lnTo>
                      <a:pt x="114" y="38"/>
                    </a:lnTo>
                    <a:lnTo>
                      <a:pt x="114" y="38"/>
                    </a:lnTo>
                    <a:lnTo>
                      <a:pt x="118" y="38"/>
                    </a:lnTo>
                    <a:lnTo>
                      <a:pt x="124" y="38"/>
                    </a:lnTo>
                    <a:lnTo>
                      <a:pt x="124" y="38"/>
                    </a:lnTo>
                    <a:lnTo>
                      <a:pt x="138" y="50"/>
                    </a:lnTo>
                    <a:lnTo>
                      <a:pt x="138" y="18"/>
                    </a:lnTo>
                    <a:lnTo>
                      <a:pt x="138" y="18"/>
                    </a:lnTo>
                    <a:lnTo>
                      <a:pt x="136" y="10"/>
                    </a:lnTo>
                    <a:lnTo>
                      <a:pt x="132" y="4"/>
                    </a:lnTo>
                    <a:lnTo>
                      <a:pt x="126" y="2"/>
                    </a:lnTo>
                    <a:lnTo>
                      <a:pt x="120" y="0"/>
                    </a:lnTo>
                    <a:lnTo>
                      <a:pt x="18" y="0"/>
                    </a:lnTo>
                    <a:lnTo>
                      <a:pt x="18" y="0"/>
                    </a:lnTo>
                    <a:lnTo>
                      <a:pt x="12" y="2"/>
                    </a:lnTo>
                    <a:lnTo>
                      <a:pt x="6" y="4"/>
                    </a:lnTo>
                    <a:lnTo>
                      <a:pt x="2" y="10"/>
                    </a:lnTo>
                    <a:lnTo>
                      <a:pt x="0" y="18"/>
                    </a:lnTo>
                    <a:lnTo>
                      <a:pt x="0" y="118"/>
                    </a:lnTo>
                    <a:lnTo>
                      <a:pt x="0" y="118"/>
                    </a:lnTo>
                    <a:lnTo>
                      <a:pt x="2" y="126"/>
                    </a:lnTo>
                    <a:lnTo>
                      <a:pt x="6" y="132"/>
                    </a:lnTo>
                    <a:lnTo>
                      <a:pt x="12" y="136"/>
                    </a:lnTo>
                    <a:lnTo>
                      <a:pt x="18" y="136"/>
                    </a:lnTo>
                    <a:lnTo>
                      <a:pt x="102" y="136"/>
                    </a:lnTo>
                    <a:lnTo>
                      <a:pt x="102" y="136"/>
                    </a:lnTo>
                    <a:lnTo>
                      <a:pt x="86" y="112"/>
                    </a:lnTo>
                    <a:lnTo>
                      <a:pt x="8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latin typeface="Segoe UI"/>
                </a:endParaRPr>
              </a:p>
            </p:txBody>
          </p:sp>
          <p:sp>
            <p:nvSpPr>
              <p:cNvPr id="107" name="Freeform 105"/>
              <p:cNvSpPr>
                <a:spLocks noEditPoints="1"/>
              </p:cNvSpPr>
              <p:nvPr/>
            </p:nvSpPr>
            <p:spPr bwMode="auto">
              <a:xfrm>
                <a:off x="2724150" y="8156575"/>
                <a:ext cx="952500" cy="976313"/>
              </a:xfrm>
              <a:custGeom>
                <a:avLst/>
                <a:gdLst>
                  <a:gd name="T0" fmla="*/ 386 w 600"/>
                  <a:gd name="T1" fmla="*/ 609 h 615"/>
                  <a:gd name="T2" fmla="*/ 370 w 600"/>
                  <a:gd name="T3" fmla="*/ 581 h 615"/>
                  <a:gd name="T4" fmla="*/ 338 w 600"/>
                  <a:gd name="T5" fmla="*/ 565 h 615"/>
                  <a:gd name="T6" fmla="*/ 256 w 600"/>
                  <a:gd name="T7" fmla="*/ 545 h 615"/>
                  <a:gd name="T8" fmla="*/ 138 w 600"/>
                  <a:gd name="T9" fmla="*/ 457 h 615"/>
                  <a:gd name="T10" fmla="*/ 100 w 600"/>
                  <a:gd name="T11" fmla="*/ 412 h 615"/>
                  <a:gd name="T12" fmla="*/ 34 w 600"/>
                  <a:gd name="T13" fmla="*/ 358 h 615"/>
                  <a:gd name="T14" fmla="*/ 4 w 600"/>
                  <a:gd name="T15" fmla="*/ 342 h 615"/>
                  <a:gd name="T16" fmla="*/ 10 w 600"/>
                  <a:gd name="T17" fmla="*/ 306 h 615"/>
                  <a:gd name="T18" fmla="*/ 40 w 600"/>
                  <a:gd name="T19" fmla="*/ 284 h 615"/>
                  <a:gd name="T20" fmla="*/ 102 w 600"/>
                  <a:gd name="T21" fmla="*/ 286 h 615"/>
                  <a:gd name="T22" fmla="*/ 178 w 600"/>
                  <a:gd name="T23" fmla="*/ 336 h 615"/>
                  <a:gd name="T24" fmla="*/ 200 w 600"/>
                  <a:gd name="T25" fmla="*/ 310 h 615"/>
                  <a:gd name="T26" fmla="*/ 54 w 600"/>
                  <a:gd name="T27" fmla="*/ 74 h 615"/>
                  <a:gd name="T28" fmla="*/ 46 w 600"/>
                  <a:gd name="T29" fmla="*/ 30 h 615"/>
                  <a:gd name="T30" fmla="*/ 78 w 600"/>
                  <a:gd name="T31" fmla="*/ 2 h 615"/>
                  <a:gd name="T32" fmla="*/ 94 w 600"/>
                  <a:gd name="T33" fmla="*/ 0 h 615"/>
                  <a:gd name="T34" fmla="*/ 216 w 600"/>
                  <a:gd name="T35" fmla="*/ 144 h 615"/>
                  <a:gd name="T36" fmla="*/ 314 w 600"/>
                  <a:gd name="T37" fmla="*/ 174 h 615"/>
                  <a:gd name="T38" fmla="*/ 468 w 600"/>
                  <a:gd name="T39" fmla="*/ 194 h 615"/>
                  <a:gd name="T40" fmla="*/ 494 w 600"/>
                  <a:gd name="T41" fmla="*/ 204 h 615"/>
                  <a:gd name="T42" fmla="*/ 584 w 600"/>
                  <a:gd name="T43" fmla="*/ 410 h 615"/>
                  <a:gd name="T44" fmla="*/ 590 w 600"/>
                  <a:gd name="T45" fmla="*/ 477 h 615"/>
                  <a:gd name="T46" fmla="*/ 600 w 600"/>
                  <a:gd name="T47" fmla="*/ 507 h 615"/>
                  <a:gd name="T48" fmla="*/ 578 w 600"/>
                  <a:gd name="T49" fmla="*/ 535 h 615"/>
                  <a:gd name="T50" fmla="*/ 400 w 600"/>
                  <a:gd name="T51" fmla="*/ 615 h 615"/>
                  <a:gd name="T52" fmla="*/ 352 w 600"/>
                  <a:gd name="T53" fmla="*/ 539 h 615"/>
                  <a:gd name="T54" fmla="*/ 394 w 600"/>
                  <a:gd name="T55" fmla="*/ 569 h 615"/>
                  <a:gd name="T56" fmla="*/ 502 w 600"/>
                  <a:gd name="T57" fmla="*/ 547 h 615"/>
                  <a:gd name="T58" fmla="*/ 570 w 600"/>
                  <a:gd name="T59" fmla="*/ 499 h 615"/>
                  <a:gd name="T60" fmla="*/ 562 w 600"/>
                  <a:gd name="T61" fmla="*/ 430 h 615"/>
                  <a:gd name="T62" fmla="*/ 504 w 600"/>
                  <a:gd name="T63" fmla="*/ 278 h 615"/>
                  <a:gd name="T64" fmla="*/ 364 w 600"/>
                  <a:gd name="T65" fmla="*/ 202 h 615"/>
                  <a:gd name="T66" fmla="*/ 274 w 600"/>
                  <a:gd name="T67" fmla="*/ 200 h 615"/>
                  <a:gd name="T68" fmla="*/ 232 w 600"/>
                  <a:gd name="T69" fmla="*/ 208 h 615"/>
                  <a:gd name="T70" fmla="*/ 160 w 600"/>
                  <a:gd name="T71" fmla="*/ 110 h 615"/>
                  <a:gd name="T72" fmla="*/ 84 w 600"/>
                  <a:gd name="T73" fmla="*/ 26 h 615"/>
                  <a:gd name="T74" fmla="*/ 68 w 600"/>
                  <a:gd name="T75" fmla="*/ 44 h 615"/>
                  <a:gd name="T76" fmla="*/ 180 w 600"/>
                  <a:gd name="T77" fmla="*/ 218 h 615"/>
                  <a:gd name="T78" fmla="*/ 234 w 600"/>
                  <a:gd name="T79" fmla="*/ 332 h 615"/>
                  <a:gd name="T80" fmla="*/ 230 w 600"/>
                  <a:gd name="T81" fmla="*/ 352 h 615"/>
                  <a:gd name="T82" fmla="*/ 188 w 600"/>
                  <a:gd name="T83" fmla="*/ 358 h 615"/>
                  <a:gd name="T84" fmla="*/ 168 w 600"/>
                  <a:gd name="T85" fmla="*/ 362 h 615"/>
                  <a:gd name="T86" fmla="*/ 120 w 600"/>
                  <a:gd name="T87" fmla="*/ 322 h 615"/>
                  <a:gd name="T88" fmla="*/ 58 w 600"/>
                  <a:gd name="T89" fmla="*/ 306 h 615"/>
                  <a:gd name="T90" fmla="*/ 26 w 600"/>
                  <a:gd name="T91" fmla="*/ 326 h 615"/>
                  <a:gd name="T92" fmla="*/ 56 w 600"/>
                  <a:gd name="T93" fmla="*/ 344 h 615"/>
                  <a:gd name="T94" fmla="*/ 136 w 600"/>
                  <a:gd name="T95" fmla="*/ 416 h 615"/>
                  <a:gd name="T96" fmla="*/ 202 w 600"/>
                  <a:gd name="T97" fmla="*/ 483 h 615"/>
                  <a:gd name="T98" fmla="*/ 300 w 600"/>
                  <a:gd name="T99" fmla="*/ 535 h 615"/>
                  <a:gd name="T100" fmla="*/ 352 w 600"/>
                  <a:gd name="T101" fmla="*/ 539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0" h="615">
                    <a:moveTo>
                      <a:pt x="396" y="615"/>
                    </a:moveTo>
                    <a:lnTo>
                      <a:pt x="396" y="615"/>
                    </a:lnTo>
                    <a:lnTo>
                      <a:pt x="390" y="613"/>
                    </a:lnTo>
                    <a:lnTo>
                      <a:pt x="390" y="613"/>
                    </a:lnTo>
                    <a:lnTo>
                      <a:pt x="386" y="609"/>
                    </a:lnTo>
                    <a:lnTo>
                      <a:pt x="384" y="603"/>
                    </a:lnTo>
                    <a:lnTo>
                      <a:pt x="384" y="603"/>
                    </a:lnTo>
                    <a:lnTo>
                      <a:pt x="382" y="597"/>
                    </a:lnTo>
                    <a:lnTo>
                      <a:pt x="380" y="591"/>
                    </a:lnTo>
                    <a:lnTo>
                      <a:pt x="370" y="581"/>
                    </a:lnTo>
                    <a:lnTo>
                      <a:pt x="360" y="571"/>
                    </a:lnTo>
                    <a:lnTo>
                      <a:pt x="350" y="563"/>
                    </a:lnTo>
                    <a:lnTo>
                      <a:pt x="350" y="563"/>
                    </a:lnTo>
                    <a:lnTo>
                      <a:pt x="338" y="565"/>
                    </a:lnTo>
                    <a:lnTo>
                      <a:pt x="338" y="565"/>
                    </a:lnTo>
                    <a:lnTo>
                      <a:pt x="338" y="565"/>
                    </a:lnTo>
                    <a:lnTo>
                      <a:pt x="316" y="563"/>
                    </a:lnTo>
                    <a:lnTo>
                      <a:pt x="296" y="559"/>
                    </a:lnTo>
                    <a:lnTo>
                      <a:pt x="276" y="553"/>
                    </a:lnTo>
                    <a:lnTo>
                      <a:pt x="256" y="545"/>
                    </a:lnTo>
                    <a:lnTo>
                      <a:pt x="238" y="537"/>
                    </a:lnTo>
                    <a:lnTo>
                      <a:pt x="220" y="527"/>
                    </a:lnTo>
                    <a:lnTo>
                      <a:pt x="188" y="503"/>
                    </a:lnTo>
                    <a:lnTo>
                      <a:pt x="160" y="481"/>
                    </a:lnTo>
                    <a:lnTo>
                      <a:pt x="138" y="457"/>
                    </a:lnTo>
                    <a:lnTo>
                      <a:pt x="122" y="439"/>
                    </a:lnTo>
                    <a:lnTo>
                      <a:pt x="114" y="428"/>
                    </a:lnTo>
                    <a:lnTo>
                      <a:pt x="114" y="428"/>
                    </a:lnTo>
                    <a:lnTo>
                      <a:pt x="108" y="420"/>
                    </a:lnTo>
                    <a:lnTo>
                      <a:pt x="100" y="412"/>
                    </a:lnTo>
                    <a:lnTo>
                      <a:pt x="78" y="394"/>
                    </a:lnTo>
                    <a:lnTo>
                      <a:pt x="42" y="364"/>
                    </a:lnTo>
                    <a:lnTo>
                      <a:pt x="42" y="364"/>
                    </a:lnTo>
                    <a:lnTo>
                      <a:pt x="34" y="358"/>
                    </a:lnTo>
                    <a:lnTo>
                      <a:pt x="34" y="358"/>
                    </a:lnTo>
                    <a:lnTo>
                      <a:pt x="24" y="354"/>
                    </a:lnTo>
                    <a:lnTo>
                      <a:pt x="8" y="346"/>
                    </a:lnTo>
                    <a:lnTo>
                      <a:pt x="8" y="346"/>
                    </a:lnTo>
                    <a:lnTo>
                      <a:pt x="4" y="342"/>
                    </a:lnTo>
                    <a:lnTo>
                      <a:pt x="4" y="342"/>
                    </a:lnTo>
                    <a:lnTo>
                      <a:pt x="0" y="336"/>
                    </a:lnTo>
                    <a:lnTo>
                      <a:pt x="0" y="328"/>
                    </a:lnTo>
                    <a:lnTo>
                      <a:pt x="0" y="322"/>
                    </a:lnTo>
                    <a:lnTo>
                      <a:pt x="2" y="316"/>
                    </a:lnTo>
                    <a:lnTo>
                      <a:pt x="10" y="306"/>
                    </a:lnTo>
                    <a:lnTo>
                      <a:pt x="16" y="298"/>
                    </a:lnTo>
                    <a:lnTo>
                      <a:pt x="16" y="296"/>
                    </a:lnTo>
                    <a:lnTo>
                      <a:pt x="16" y="296"/>
                    </a:lnTo>
                    <a:lnTo>
                      <a:pt x="28" y="288"/>
                    </a:lnTo>
                    <a:lnTo>
                      <a:pt x="40" y="284"/>
                    </a:lnTo>
                    <a:lnTo>
                      <a:pt x="54" y="280"/>
                    </a:lnTo>
                    <a:lnTo>
                      <a:pt x="68" y="280"/>
                    </a:lnTo>
                    <a:lnTo>
                      <a:pt x="68" y="280"/>
                    </a:lnTo>
                    <a:lnTo>
                      <a:pt x="86" y="280"/>
                    </a:lnTo>
                    <a:lnTo>
                      <a:pt x="102" y="286"/>
                    </a:lnTo>
                    <a:lnTo>
                      <a:pt x="120" y="292"/>
                    </a:lnTo>
                    <a:lnTo>
                      <a:pt x="134" y="302"/>
                    </a:lnTo>
                    <a:lnTo>
                      <a:pt x="148" y="310"/>
                    </a:lnTo>
                    <a:lnTo>
                      <a:pt x="160" y="320"/>
                    </a:lnTo>
                    <a:lnTo>
                      <a:pt x="178" y="336"/>
                    </a:lnTo>
                    <a:lnTo>
                      <a:pt x="178" y="336"/>
                    </a:lnTo>
                    <a:lnTo>
                      <a:pt x="194" y="332"/>
                    </a:lnTo>
                    <a:lnTo>
                      <a:pt x="208" y="330"/>
                    </a:lnTo>
                    <a:lnTo>
                      <a:pt x="208" y="330"/>
                    </a:lnTo>
                    <a:lnTo>
                      <a:pt x="200" y="310"/>
                    </a:lnTo>
                    <a:lnTo>
                      <a:pt x="180" y="268"/>
                    </a:lnTo>
                    <a:lnTo>
                      <a:pt x="180" y="268"/>
                    </a:lnTo>
                    <a:lnTo>
                      <a:pt x="158" y="230"/>
                    </a:lnTo>
                    <a:lnTo>
                      <a:pt x="122" y="174"/>
                    </a:lnTo>
                    <a:lnTo>
                      <a:pt x="54" y="74"/>
                    </a:lnTo>
                    <a:lnTo>
                      <a:pt x="54" y="74"/>
                    </a:lnTo>
                    <a:lnTo>
                      <a:pt x="48" y="62"/>
                    </a:lnTo>
                    <a:lnTo>
                      <a:pt x="44" y="50"/>
                    </a:lnTo>
                    <a:lnTo>
                      <a:pt x="44" y="40"/>
                    </a:lnTo>
                    <a:lnTo>
                      <a:pt x="46" y="30"/>
                    </a:lnTo>
                    <a:lnTo>
                      <a:pt x="46" y="30"/>
                    </a:lnTo>
                    <a:lnTo>
                      <a:pt x="50" y="22"/>
                    </a:lnTo>
                    <a:lnTo>
                      <a:pt x="54" y="16"/>
                    </a:lnTo>
                    <a:lnTo>
                      <a:pt x="66" y="6"/>
                    </a:lnTo>
                    <a:lnTo>
                      <a:pt x="78" y="2"/>
                    </a:lnTo>
                    <a:lnTo>
                      <a:pt x="84" y="0"/>
                    </a:lnTo>
                    <a:lnTo>
                      <a:pt x="84" y="0"/>
                    </a:lnTo>
                    <a:lnTo>
                      <a:pt x="88" y="0"/>
                    </a:lnTo>
                    <a:lnTo>
                      <a:pt x="94" y="0"/>
                    </a:lnTo>
                    <a:lnTo>
                      <a:pt x="94" y="0"/>
                    </a:lnTo>
                    <a:lnTo>
                      <a:pt x="112" y="16"/>
                    </a:lnTo>
                    <a:lnTo>
                      <a:pt x="132" y="36"/>
                    </a:lnTo>
                    <a:lnTo>
                      <a:pt x="154" y="62"/>
                    </a:lnTo>
                    <a:lnTo>
                      <a:pt x="176" y="90"/>
                    </a:lnTo>
                    <a:lnTo>
                      <a:pt x="216" y="144"/>
                    </a:lnTo>
                    <a:lnTo>
                      <a:pt x="242" y="182"/>
                    </a:lnTo>
                    <a:lnTo>
                      <a:pt x="242" y="182"/>
                    </a:lnTo>
                    <a:lnTo>
                      <a:pt x="258" y="178"/>
                    </a:lnTo>
                    <a:lnTo>
                      <a:pt x="276" y="176"/>
                    </a:lnTo>
                    <a:lnTo>
                      <a:pt x="314" y="174"/>
                    </a:lnTo>
                    <a:lnTo>
                      <a:pt x="314" y="174"/>
                    </a:lnTo>
                    <a:lnTo>
                      <a:pt x="344" y="174"/>
                    </a:lnTo>
                    <a:lnTo>
                      <a:pt x="374" y="176"/>
                    </a:lnTo>
                    <a:lnTo>
                      <a:pt x="428" y="184"/>
                    </a:lnTo>
                    <a:lnTo>
                      <a:pt x="468" y="194"/>
                    </a:lnTo>
                    <a:lnTo>
                      <a:pt x="486" y="198"/>
                    </a:lnTo>
                    <a:lnTo>
                      <a:pt x="486" y="198"/>
                    </a:lnTo>
                    <a:lnTo>
                      <a:pt x="490" y="200"/>
                    </a:lnTo>
                    <a:lnTo>
                      <a:pt x="494" y="204"/>
                    </a:lnTo>
                    <a:lnTo>
                      <a:pt x="494" y="204"/>
                    </a:lnTo>
                    <a:lnTo>
                      <a:pt x="512" y="240"/>
                    </a:lnTo>
                    <a:lnTo>
                      <a:pt x="546" y="306"/>
                    </a:lnTo>
                    <a:lnTo>
                      <a:pt x="562" y="344"/>
                    </a:lnTo>
                    <a:lnTo>
                      <a:pt x="576" y="380"/>
                    </a:lnTo>
                    <a:lnTo>
                      <a:pt x="584" y="410"/>
                    </a:lnTo>
                    <a:lnTo>
                      <a:pt x="586" y="422"/>
                    </a:lnTo>
                    <a:lnTo>
                      <a:pt x="586" y="432"/>
                    </a:lnTo>
                    <a:lnTo>
                      <a:pt x="586" y="432"/>
                    </a:lnTo>
                    <a:lnTo>
                      <a:pt x="586" y="457"/>
                    </a:lnTo>
                    <a:lnTo>
                      <a:pt x="590" y="477"/>
                    </a:lnTo>
                    <a:lnTo>
                      <a:pt x="594" y="489"/>
                    </a:lnTo>
                    <a:lnTo>
                      <a:pt x="596" y="495"/>
                    </a:lnTo>
                    <a:lnTo>
                      <a:pt x="596" y="495"/>
                    </a:lnTo>
                    <a:lnTo>
                      <a:pt x="598" y="501"/>
                    </a:lnTo>
                    <a:lnTo>
                      <a:pt x="600" y="507"/>
                    </a:lnTo>
                    <a:lnTo>
                      <a:pt x="600" y="511"/>
                    </a:lnTo>
                    <a:lnTo>
                      <a:pt x="598" y="517"/>
                    </a:lnTo>
                    <a:lnTo>
                      <a:pt x="598" y="517"/>
                    </a:lnTo>
                    <a:lnTo>
                      <a:pt x="590" y="525"/>
                    </a:lnTo>
                    <a:lnTo>
                      <a:pt x="578" y="535"/>
                    </a:lnTo>
                    <a:lnTo>
                      <a:pt x="560" y="547"/>
                    </a:lnTo>
                    <a:lnTo>
                      <a:pt x="536" y="561"/>
                    </a:lnTo>
                    <a:lnTo>
                      <a:pt x="500" y="577"/>
                    </a:lnTo>
                    <a:lnTo>
                      <a:pt x="456" y="595"/>
                    </a:lnTo>
                    <a:lnTo>
                      <a:pt x="400" y="615"/>
                    </a:lnTo>
                    <a:lnTo>
                      <a:pt x="400" y="615"/>
                    </a:lnTo>
                    <a:lnTo>
                      <a:pt x="396" y="615"/>
                    </a:lnTo>
                    <a:lnTo>
                      <a:pt x="396" y="615"/>
                    </a:lnTo>
                    <a:close/>
                    <a:moveTo>
                      <a:pt x="352" y="539"/>
                    </a:moveTo>
                    <a:lnTo>
                      <a:pt x="352" y="539"/>
                    </a:lnTo>
                    <a:lnTo>
                      <a:pt x="360" y="541"/>
                    </a:lnTo>
                    <a:lnTo>
                      <a:pt x="360" y="541"/>
                    </a:lnTo>
                    <a:lnTo>
                      <a:pt x="366" y="545"/>
                    </a:lnTo>
                    <a:lnTo>
                      <a:pt x="380" y="555"/>
                    </a:lnTo>
                    <a:lnTo>
                      <a:pt x="394" y="569"/>
                    </a:lnTo>
                    <a:lnTo>
                      <a:pt x="400" y="577"/>
                    </a:lnTo>
                    <a:lnTo>
                      <a:pt x="404" y="587"/>
                    </a:lnTo>
                    <a:lnTo>
                      <a:pt x="404" y="587"/>
                    </a:lnTo>
                    <a:lnTo>
                      <a:pt x="452" y="569"/>
                    </a:lnTo>
                    <a:lnTo>
                      <a:pt x="502" y="547"/>
                    </a:lnTo>
                    <a:lnTo>
                      <a:pt x="546" y="527"/>
                    </a:lnTo>
                    <a:lnTo>
                      <a:pt x="562" y="517"/>
                    </a:lnTo>
                    <a:lnTo>
                      <a:pt x="574" y="507"/>
                    </a:lnTo>
                    <a:lnTo>
                      <a:pt x="574" y="507"/>
                    </a:lnTo>
                    <a:lnTo>
                      <a:pt x="570" y="499"/>
                    </a:lnTo>
                    <a:lnTo>
                      <a:pt x="566" y="483"/>
                    </a:lnTo>
                    <a:lnTo>
                      <a:pt x="562" y="459"/>
                    </a:lnTo>
                    <a:lnTo>
                      <a:pt x="562" y="445"/>
                    </a:lnTo>
                    <a:lnTo>
                      <a:pt x="562" y="430"/>
                    </a:lnTo>
                    <a:lnTo>
                      <a:pt x="562" y="430"/>
                    </a:lnTo>
                    <a:lnTo>
                      <a:pt x="560" y="416"/>
                    </a:lnTo>
                    <a:lnTo>
                      <a:pt x="554" y="394"/>
                    </a:lnTo>
                    <a:lnTo>
                      <a:pt x="544" y="368"/>
                    </a:lnTo>
                    <a:lnTo>
                      <a:pt x="532" y="340"/>
                    </a:lnTo>
                    <a:lnTo>
                      <a:pt x="504" y="278"/>
                    </a:lnTo>
                    <a:lnTo>
                      <a:pt x="474" y="220"/>
                    </a:lnTo>
                    <a:lnTo>
                      <a:pt x="474" y="220"/>
                    </a:lnTo>
                    <a:lnTo>
                      <a:pt x="450" y="214"/>
                    </a:lnTo>
                    <a:lnTo>
                      <a:pt x="412" y="208"/>
                    </a:lnTo>
                    <a:lnTo>
                      <a:pt x="364" y="202"/>
                    </a:lnTo>
                    <a:lnTo>
                      <a:pt x="340" y="200"/>
                    </a:lnTo>
                    <a:lnTo>
                      <a:pt x="314" y="198"/>
                    </a:lnTo>
                    <a:lnTo>
                      <a:pt x="314" y="198"/>
                    </a:lnTo>
                    <a:lnTo>
                      <a:pt x="292" y="200"/>
                    </a:lnTo>
                    <a:lnTo>
                      <a:pt x="274" y="200"/>
                    </a:lnTo>
                    <a:lnTo>
                      <a:pt x="256" y="204"/>
                    </a:lnTo>
                    <a:lnTo>
                      <a:pt x="240" y="208"/>
                    </a:lnTo>
                    <a:lnTo>
                      <a:pt x="240" y="208"/>
                    </a:lnTo>
                    <a:lnTo>
                      <a:pt x="236" y="208"/>
                    </a:lnTo>
                    <a:lnTo>
                      <a:pt x="232" y="208"/>
                    </a:lnTo>
                    <a:lnTo>
                      <a:pt x="230" y="206"/>
                    </a:lnTo>
                    <a:lnTo>
                      <a:pt x="226" y="204"/>
                    </a:lnTo>
                    <a:lnTo>
                      <a:pt x="226" y="204"/>
                    </a:lnTo>
                    <a:lnTo>
                      <a:pt x="198" y="162"/>
                    </a:lnTo>
                    <a:lnTo>
                      <a:pt x="160" y="110"/>
                    </a:lnTo>
                    <a:lnTo>
                      <a:pt x="140" y="84"/>
                    </a:lnTo>
                    <a:lnTo>
                      <a:pt x="120" y="60"/>
                    </a:lnTo>
                    <a:lnTo>
                      <a:pt x="102" y="40"/>
                    </a:lnTo>
                    <a:lnTo>
                      <a:pt x="84" y="26"/>
                    </a:lnTo>
                    <a:lnTo>
                      <a:pt x="84" y="26"/>
                    </a:lnTo>
                    <a:lnTo>
                      <a:pt x="76" y="30"/>
                    </a:lnTo>
                    <a:lnTo>
                      <a:pt x="72" y="34"/>
                    </a:lnTo>
                    <a:lnTo>
                      <a:pt x="70" y="38"/>
                    </a:lnTo>
                    <a:lnTo>
                      <a:pt x="70" y="38"/>
                    </a:lnTo>
                    <a:lnTo>
                      <a:pt x="68" y="44"/>
                    </a:lnTo>
                    <a:lnTo>
                      <a:pt x="70" y="48"/>
                    </a:lnTo>
                    <a:lnTo>
                      <a:pt x="76" y="58"/>
                    </a:lnTo>
                    <a:lnTo>
                      <a:pt x="76" y="58"/>
                    </a:lnTo>
                    <a:lnTo>
                      <a:pt x="144" y="162"/>
                    </a:lnTo>
                    <a:lnTo>
                      <a:pt x="180" y="218"/>
                    </a:lnTo>
                    <a:lnTo>
                      <a:pt x="202" y="256"/>
                    </a:lnTo>
                    <a:lnTo>
                      <a:pt x="202" y="256"/>
                    </a:lnTo>
                    <a:lnTo>
                      <a:pt x="222" y="296"/>
                    </a:lnTo>
                    <a:lnTo>
                      <a:pt x="232" y="320"/>
                    </a:lnTo>
                    <a:lnTo>
                      <a:pt x="234" y="332"/>
                    </a:lnTo>
                    <a:lnTo>
                      <a:pt x="236" y="336"/>
                    </a:lnTo>
                    <a:lnTo>
                      <a:pt x="234" y="344"/>
                    </a:lnTo>
                    <a:lnTo>
                      <a:pt x="234" y="344"/>
                    </a:lnTo>
                    <a:lnTo>
                      <a:pt x="234" y="348"/>
                    </a:lnTo>
                    <a:lnTo>
                      <a:pt x="230" y="352"/>
                    </a:lnTo>
                    <a:lnTo>
                      <a:pt x="226" y="354"/>
                    </a:lnTo>
                    <a:lnTo>
                      <a:pt x="222" y="356"/>
                    </a:lnTo>
                    <a:lnTo>
                      <a:pt x="222" y="356"/>
                    </a:lnTo>
                    <a:lnTo>
                      <a:pt x="200" y="356"/>
                    </a:lnTo>
                    <a:lnTo>
                      <a:pt x="188" y="358"/>
                    </a:lnTo>
                    <a:lnTo>
                      <a:pt x="180" y="362"/>
                    </a:lnTo>
                    <a:lnTo>
                      <a:pt x="180" y="362"/>
                    </a:lnTo>
                    <a:lnTo>
                      <a:pt x="176" y="362"/>
                    </a:lnTo>
                    <a:lnTo>
                      <a:pt x="172" y="362"/>
                    </a:lnTo>
                    <a:lnTo>
                      <a:pt x="168" y="362"/>
                    </a:lnTo>
                    <a:lnTo>
                      <a:pt x="166" y="358"/>
                    </a:lnTo>
                    <a:lnTo>
                      <a:pt x="166" y="358"/>
                    </a:lnTo>
                    <a:lnTo>
                      <a:pt x="156" y="350"/>
                    </a:lnTo>
                    <a:lnTo>
                      <a:pt x="134" y="332"/>
                    </a:lnTo>
                    <a:lnTo>
                      <a:pt x="120" y="322"/>
                    </a:lnTo>
                    <a:lnTo>
                      <a:pt x="102" y="312"/>
                    </a:lnTo>
                    <a:lnTo>
                      <a:pt x="86" y="306"/>
                    </a:lnTo>
                    <a:lnTo>
                      <a:pt x="68" y="304"/>
                    </a:lnTo>
                    <a:lnTo>
                      <a:pt x="68" y="304"/>
                    </a:lnTo>
                    <a:lnTo>
                      <a:pt x="58" y="306"/>
                    </a:lnTo>
                    <a:lnTo>
                      <a:pt x="50" y="308"/>
                    </a:lnTo>
                    <a:lnTo>
                      <a:pt x="42" y="310"/>
                    </a:lnTo>
                    <a:lnTo>
                      <a:pt x="34" y="316"/>
                    </a:lnTo>
                    <a:lnTo>
                      <a:pt x="34" y="316"/>
                    </a:lnTo>
                    <a:lnTo>
                      <a:pt x="26" y="326"/>
                    </a:lnTo>
                    <a:lnTo>
                      <a:pt x="26" y="326"/>
                    </a:lnTo>
                    <a:lnTo>
                      <a:pt x="40" y="332"/>
                    </a:lnTo>
                    <a:lnTo>
                      <a:pt x="50" y="340"/>
                    </a:lnTo>
                    <a:lnTo>
                      <a:pt x="50" y="340"/>
                    </a:lnTo>
                    <a:lnTo>
                      <a:pt x="56" y="344"/>
                    </a:lnTo>
                    <a:lnTo>
                      <a:pt x="56" y="344"/>
                    </a:lnTo>
                    <a:lnTo>
                      <a:pt x="80" y="362"/>
                    </a:lnTo>
                    <a:lnTo>
                      <a:pt x="102" y="380"/>
                    </a:lnTo>
                    <a:lnTo>
                      <a:pt x="122" y="398"/>
                    </a:lnTo>
                    <a:lnTo>
                      <a:pt x="136" y="416"/>
                    </a:lnTo>
                    <a:lnTo>
                      <a:pt x="136" y="416"/>
                    </a:lnTo>
                    <a:lnTo>
                      <a:pt x="142" y="426"/>
                    </a:lnTo>
                    <a:lnTo>
                      <a:pt x="158" y="441"/>
                    </a:lnTo>
                    <a:lnTo>
                      <a:pt x="176" y="461"/>
                    </a:lnTo>
                    <a:lnTo>
                      <a:pt x="202" y="483"/>
                    </a:lnTo>
                    <a:lnTo>
                      <a:pt x="232" y="503"/>
                    </a:lnTo>
                    <a:lnTo>
                      <a:pt x="248" y="513"/>
                    </a:lnTo>
                    <a:lnTo>
                      <a:pt x="264" y="521"/>
                    </a:lnTo>
                    <a:lnTo>
                      <a:pt x="282" y="529"/>
                    </a:lnTo>
                    <a:lnTo>
                      <a:pt x="300" y="535"/>
                    </a:lnTo>
                    <a:lnTo>
                      <a:pt x="318" y="537"/>
                    </a:lnTo>
                    <a:lnTo>
                      <a:pt x="338" y="539"/>
                    </a:lnTo>
                    <a:lnTo>
                      <a:pt x="338" y="539"/>
                    </a:lnTo>
                    <a:lnTo>
                      <a:pt x="338" y="539"/>
                    </a:lnTo>
                    <a:lnTo>
                      <a:pt x="352" y="539"/>
                    </a:lnTo>
                    <a:lnTo>
                      <a:pt x="352" y="5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latin typeface="Segoe UI"/>
                </a:endParaRPr>
              </a:p>
            </p:txBody>
          </p:sp>
          <p:sp>
            <p:nvSpPr>
              <p:cNvPr id="108" name="Freeform 106"/>
              <p:cNvSpPr>
                <a:spLocks/>
              </p:cNvSpPr>
              <p:nvPr/>
            </p:nvSpPr>
            <p:spPr bwMode="auto">
              <a:xfrm>
                <a:off x="2308225" y="7734300"/>
                <a:ext cx="704850" cy="1154113"/>
              </a:xfrm>
              <a:custGeom>
                <a:avLst/>
                <a:gdLst>
                  <a:gd name="T0" fmla="*/ 34 w 444"/>
                  <a:gd name="T1" fmla="*/ 703 h 727"/>
                  <a:gd name="T2" fmla="*/ 34 w 444"/>
                  <a:gd name="T3" fmla="*/ 703 h 727"/>
                  <a:gd name="T4" fmla="*/ 28 w 444"/>
                  <a:gd name="T5" fmla="*/ 701 h 727"/>
                  <a:gd name="T6" fmla="*/ 26 w 444"/>
                  <a:gd name="T7" fmla="*/ 696 h 727"/>
                  <a:gd name="T8" fmla="*/ 26 w 444"/>
                  <a:gd name="T9" fmla="*/ 32 h 727"/>
                  <a:gd name="T10" fmla="*/ 26 w 444"/>
                  <a:gd name="T11" fmla="*/ 32 h 727"/>
                  <a:gd name="T12" fmla="*/ 28 w 444"/>
                  <a:gd name="T13" fmla="*/ 26 h 727"/>
                  <a:gd name="T14" fmla="*/ 34 w 444"/>
                  <a:gd name="T15" fmla="*/ 24 h 727"/>
                  <a:gd name="T16" fmla="*/ 412 w 444"/>
                  <a:gd name="T17" fmla="*/ 24 h 727"/>
                  <a:gd name="T18" fmla="*/ 412 w 444"/>
                  <a:gd name="T19" fmla="*/ 24 h 727"/>
                  <a:gd name="T20" fmla="*/ 418 w 444"/>
                  <a:gd name="T21" fmla="*/ 26 h 727"/>
                  <a:gd name="T22" fmla="*/ 420 w 444"/>
                  <a:gd name="T23" fmla="*/ 32 h 727"/>
                  <a:gd name="T24" fmla="*/ 420 w 444"/>
                  <a:gd name="T25" fmla="*/ 348 h 727"/>
                  <a:gd name="T26" fmla="*/ 420 w 444"/>
                  <a:gd name="T27" fmla="*/ 348 h 727"/>
                  <a:gd name="T28" fmla="*/ 444 w 444"/>
                  <a:gd name="T29" fmla="*/ 382 h 727"/>
                  <a:gd name="T30" fmla="*/ 444 w 444"/>
                  <a:gd name="T31" fmla="*/ 32 h 727"/>
                  <a:gd name="T32" fmla="*/ 444 w 444"/>
                  <a:gd name="T33" fmla="*/ 32 h 727"/>
                  <a:gd name="T34" fmla="*/ 444 w 444"/>
                  <a:gd name="T35" fmla="*/ 26 h 727"/>
                  <a:gd name="T36" fmla="*/ 442 w 444"/>
                  <a:gd name="T37" fmla="*/ 20 h 727"/>
                  <a:gd name="T38" fmla="*/ 440 w 444"/>
                  <a:gd name="T39" fmla="*/ 14 h 727"/>
                  <a:gd name="T40" fmla="*/ 436 w 444"/>
                  <a:gd name="T41" fmla="*/ 8 h 727"/>
                  <a:gd name="T42" fmla="*/ 430 w 444"/>
                  <a:gd name="T43" fmla="*/ 4 h 727"/>
                  <a:gd name="T44" fmla="*/ 426 w 444"/>
                  <a:gd name="T45" fmla="*/ 2 h 727"/>
                  <a:gd name="T46" fmla="*/ 420 w 444"/>
                  <a:gd name="T47" fmla="*/ 0 h 727"/>
                  <a:gd name="T48" fmla="*/ 412 w 444"/>
                  <a:gd name="T49" fmla="*/ 0 h 727"/>
                  <a:gd name="T50" fmla="*/ 34 w 444"/>
                  <a:gd name="T51" fmla="*/ 0 h 727"/>
                  <a:gd name="T52" fmla="*/ 34 w 444"/>
                  <a:gd name="T53" fmla="*/ 0 h 727"/>
                  <a:gd name="T54" fmla="*/ 26 w 444"/>
                  <a:gd name="T55" fmla="*/ 0 h 727"/>
                  <a:gd name="T56" fmla="*/ 20 w 444"/>
                  <a:gd name="T57" fmla="*/ 2 h 727"/>
                  <a:gd name="T58" fmla="*/ 16 w 444"/>
                  <a:gd name="T59" fmla="*/ 4 h 727"/>
                  <a:gd name="T60" fmla="*/ 10 w 444"/>
                  <a:gd name="T61" fmla="*/ 8 h 727"/>
                  <a:gd name="T62" fmla="*/ 6 w 444"/>
                  <a:gd name="T63" fmla="*/ 14 h 727"/>
                  <a:gd name="T64" fmla="*/ 4 w 444"/>
                  <a:gd name="T65" fmla="*/ 20 h 727"/>
                  <a:gd name="T66" fmla="*/ 2 w 444"/>
                  <a:gd name="T67" fmla="*/ 26 h 727"/>
                  <a:gd name="T68" fmla="*/ 0 w 444"/>
                  <a:gd name="T69" fmla="*/ 32 h 727"/>
                  <a:gd name="T70" fmla="*/ 0 w 444"/>
                  <a:gd name="T71" fmla="*/ 696 h 727"/>
                  <a:gd name="T72" fmla="*/ 0 w 444"/>
                  <a:gd name="T73" fmla="*/ 696 h 727"/>
                  <a:gd name="T74" fmla="*/ 2 w 444"/>
                  <a:gd name="T75" fmla="*/ 701 h 727"/>
                  <a:gd name="T76" fmla="*/ 4 w 444"/>
                  <a:gd name="T77" fmla="*/ 707 h 727"/>
                  <a:gd name="T78" fmla="*/ 6 w 444"/>
                  <a:gd name="T79" fmla="*/ 713 h 727"/>
                  <a:gd name="T80" fmla="*/ 10 w 444"/>
                  <a:gd name="T81" fmla="*/ 719 h 727"/>
                  <a:gd name="T82" fmla="*/ 16 w 444"/>
                  <a:gd name="T83" fmla="*/ 723 h 727"/>
                  <a:gd name="T84" fmla="*/ 20 w 444"/>
                  <a:gd name="T85" fmla="*/ 725 h 727"/>
                  <a:gd name="T86" fmla="*/ 26 w 444"/>
                  <a:gd name="T87" fmla="*/ 727 h 727"/>
                  <a:gd name="T88" fmla="*/ 34 w 444"/>
                  <a:gd name="T89" fmla="*/ 727 h 727"/>
                  <a:gd name="T90" fmla="*/ 404 w 444"/>
                  <a:gd name="T91" fmla="*/ 727 h 727"/>
                  <a:gd name="T92" fmla="*/ 404 w 444"/>
                  <a:gd name="T93" fmla="*/ 727 h 727"/>
                  <a:gd name="T94" fmla="*/ 382 w 444"/>
                  <a:gd name="T95" fmla="*/ 703 h 727"/>
                  <a:gd name="T96" fmla="*/ 34 w 444"/>
                  <a:gd name="T97" fmla="*/ 70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44" h="727">
                    <a:moveTo>
                      <a:pt x="34" y="703"/>
                    </a:moveTo>
                    <a:lnTo>
                      <a:pt x="34" y="703"/>
                    </a:lnTo>
                    <a:lnTo>
                      <a:pt x="28" y="701"/>
                    </a:lnTo>
                    <a:lnTo>
                      <a:pt x="26" y="696"/>
                    </a:lnTo>
                    <a:lnTo>
                      <a:pt x="26" y="32"/>
                    </a:lnTo>
                    <a:lnTo>
                      <a:pt x="26" y="32"/>
                    </a:lnTo>
                    <a:lnTo>
                      <a:pt x="28" y="26"/>
                    </a:lnTo>
                    <a:lnTo>
                      <a:pt x="34" y="24"/>
                    </a:lnTo>
                    <a:lnTo>
                      <a:pt x="412" y="24"/>
                    </a:lnTo>
                    <a:lnTo>
                      <a:pt x="412" y="24"/>
                    </a:lnTo>
                    <a:lnTo>
                      <a:pt x="418" y="26"/>
                    </a:lnTo>
                    <a:lnTo>
                      <a:pt x="420" y="32"/>
                    </a:lnTo>
                    <a:lnTo>
                      <a:pt x="420" y="348"/>
                    </a:lnTo>
                    <a:lnTo>
                      <a:pt x="420" y="348"/>
                    </a:lnTo>
                    <a:lnTo>
                      <a:pt x="444" y="382"/>
                    </a:lnTo>
                    <a:lnTo>
                      <a:pt x="444" y="32"/>
                    </a:lnTo>
                    <a:lnTo>
                      <a:pt x="444" y="32"/>
                    </a:lnTo>
                    <a:lnTo>
                      <a:pt x="444" y="26"/>
                    </a:lnTo>
                    <a:lnTo>
                      <a:pt x="442" y="20"/>
                    </a:lnTo>
                    <a:lnTo>
                      <a:pt x="440" y="14"/>
                    </a:lnTo>
                    <a:lnTo>
                      <a:pt x="436" y="8"/>
                    </a:lnTo>
                    <a:lnTo>
                      <a:pt x="430" y="4"/>
                    </a:lnTo>
                    <a:lnTo>
                      <a:pt x="426" y="2"/>
                    </a:lnTo>
                    <a:lnTo>
                      <a:pt x="420" y="0"/>
                    </a:lnTo>
                    <a:lnTo>
                      <a:pt x="412" y="0"/>
                    </a:lnTo>
                    <a:lnTo>
                      <a:pt x="34" y="0"/>
                    </a:lnTo>
                    <a:lnTo>
                      <a:pt x="34" y="0"/>
                    </a:lnTo>
                    <a:lnTo>
                      <a:pt x="26" y="0"/>
                    </a:lnTo>
                    <a:lnTo>
                      <a:pt x="20" y="2"/>
                    </a:lnTo>
                    <a:lnTo>
                      <a:pt x="16" y="4"/>
                    </a:lnTo>
                    <a:lnTo>
                      <a:pt x="10" y="8"/>
                    </a:lnTo>
                    <a:lnTo>
                      <a:pt x="6" y="14"/>
                    </a:lnTo>
                    <a:lnTo>
                      <a:pt x="4" y="20"/>
                    </a:lnTo>
                    <a:lnTo>
                      <a:pt x="2" y="26"/>
                    </a:lnTo>
                    <a:lnTo>
                      <a:pt x="0" y="32"/>
                    </a:lnTo>
                    <a:lnTo>
                      <a:pt x="0" y="696"/>
                    </a:lnTo>
                    <a:lnTo>
                      <a:pt x="0" y="696"/>
                    </a:lnTo>
                    <a:lnTo>
                      <a:pt x="2" y="701"/>
                    </a:lnTo>
                    <a:lnTo>
                      <a:pt x="4" y="707"/>
                    </a:lnTo>
                    <a:lnTo>
                      <a:pt x="6" y="713"/>
                    </a:lnTo>
                    <a:lnTo>
                      <a:pt x="10" y="719"/>
                    </a:lnTo>
                    <a:lnTo>
                      <a:pt x="16" y="723"/>
                    </a:lnTo>
                    <a:lnTo>
                      <a:pt x="20" y="725"/>
                    </a:lnTo>
                    <a:lnTo>
                      <a:pt x="26" y="727"/>
                    </a:lnTo>
                    <a:lnTo>
                      <a:pt x="34" y="727"/>
                    </a:lnTo>
                    <a:lnTo>
                      <a:pt x="404" y="727"/>
                    </a:lnTo>
                    <a:lnTo>
                      <a:pt x="404" y="727"/>
                    </a:lnTo>
                    <a:lnTo>
                      <a:pt x="382" y="703"/>
                    </a:lnTo>
                    <a:lnTo>
                      <a:pt x="34" y="7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latin typeface="Segoe UI"/>
                </a:endParaRPr>
              </a:p>
            </p:txBody>
          </p:sp>
          <p:sp>
            <p:nvSpPr>
              <p:cNvPr id="109" name="Freeform 107"/>
              <p:cNvSpPr>
                <a:spLocks/>
              </p:cNvSpPr>
              <p:nvPr/>
            </p:nvSpPr>
            <p:spPr bwMode="auto">
              <a:xfrm>
                <a:off x="2974975" y="8467725"/>
                <a:ext cx="38100" cy="263525"/>
              </a:xfrm>
              <a:custGeom>
                <a:avLst/>
                <a:gdLst>
                  <a:gd name="T0" fmla="*/ 0 w 24"/>
                  <a:gd name="T1" fmla="*/ 0 h 166"/>
                  <a:gd name="T2" fmla="*/ 0 w 24"/>
                  <a:gd name="T3" fmla="*/ 134 h 166"/>
                  <a:gd name="T4" fmla="*/ 0 w 24"/>
                  <a:gd name="T5" fmla="*/ 134 h 166"/>
                  <a:gd name="T6" fmla="*/ 24 w 24"/>
                  <a:gd name="T7" fmla="*/ 166 h 166"/>
                  <a:gd name="T8" fmla="*/ 24 w 24"/>
                  <a:gd name="T9" fmla="*/ 50 h 166"/>
                  <a:gd name="T10" fmla="*/ 24 w 24"/>
                  <a:gd name="T11" fmla="*/ 50 h 166"/>
                  <a:gd name="T12" fmla="*/ 12 w 24"/>
                  <a:gd name="T13" fmla="*/ 22 h 166"/>
                  <a:gd name="T14" fmla="*/ 0 w 24"/>
                  <a:gd name="T15" fmla="*/ 0 h 166"/>
                  <a:gd name="T16" fmla="*/ 0 w 24"/>
                  <a:gd name="T17"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166">
                    <a:moveTo>
                      <a:pt x="0" y="0"/>
                    </a:moveTo>
                    <a:lnTo>
                      <a:pt x="0" y="134"/>
                    </a:lnTo>
                    <a:lnTo>
                      <a:pt x="0" y="134"/>
                    </a:lnTo>
                    <a:lnTo>
                      <a:pt x="24" y="166"/>
                    </a:lnTo>
                    <a:lnTo>
                      <a:pt x="24" y="50"/>
                    </a:lnTo>
                    <a:lnTo>
                      <a:pt x="24" y="50"/>
                    </a:lnTo>
                    <a:lnTo>
                      <a:pt x="12" y="2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latin typeface="Segoe UI"/>
                </a:endParaRPr>
              </a:p>
            </p:txBody>
          </p:sp>
        </p:grpSp>
        <p:sp>
          <p:nvSpPr>
            <p:cNvPr id="98" name="Freeform 97"/>
            <p:cNvSpPr>
              <a:spLocks noChangeAspect="1"/>
            </p:cNvSpPr>
            <p:nvPr/>
          </p:nvSpPr>
          <p:spPr bwMode="auto">
            <a:xfrm>
              <a:off x="594076" y="5166087"/>
              <a:ext cx="269639" cy="457200"/>
            </a:xfrm>
            <a:custGeom>
              <a:avLst/>
              <a:gdLst>
                <a:gd name="connsiteX0" fmla="*/ 652199 w 1962365"/>
                <a:gd name="connsiteY0" fmla="*/ 661855 h 3327402"/>
                <a:gd name="connsiteX1" fmla="*/ 518186 w 1962365"/>
                <a:gd name="connsiteY1" fmla="*/ 722665 h 3327402"/>
                <a:gd name="connsiteX2" fmla="*/ 466408 w 1962365"/>
                <a:gd name="connsiteY2" fmla="*/ 853406 h 3327402"/>
                <a:gd name="connsiteX3" fmla="*/ 466408 w 1962365"/>
                <a:gd name="connsiteY3" fmla="*/ 1151375 h 3327402"/>
                <a:gd name="connsiteX4" fmla="*/ 466408 w 1962365"/>
                <a:gd name="connsiteY4" fmla="*/ 1282116 h 3327402"/>
                <a:gd name="connsiteX5" fmla="*/ 466408 w 1962365"/>
                <a:gd name="connsiteY5" fmla="*/ 1285157 h 3327402"/>
                <a:gd name="connsiteX6" fmla="*/ 466408 w 1962365"/>
                <a:gd name="connsiteY6" fmla="*/ 1726029 h 3327402"/>
                <a:gd name="connsiteX7" fmla="*/ 466408 w 1962365"/>
                <a:gd name="connsiteY7" fmla="*/ 1732110 h 3327402"/>
                <a:gd name="connsiteX8" fmla="*/ 466280 w 1962365"/>
                <a:gd name="connsiteY8" fmla="*/ 1733367 h 3327402"/>
                <a:gd name="connsiteX9" fmla="*/ 466726 w 1962365"/>
                <a:gd name="connsiteY9" fmla="*/ 1735547 h 3327402"/>
                <a:gd name="connsiteX10" fmla="*/ 466726 w 1962365"/>
                <a:gd name="connsiteY10" fmla="*/ 2345918 h 3327402"/>
                <a:gd name="connsiteX11" fmla="*/ 405607 w 1962365"/>
                <a:gd name="connsiteY11" fmla="*/ 2406651 h 3327402"/>
                <a:gd name="connsiteX12" fmla="*/ 344488 w 1962365"/>
                <a:gd name="connsiteY12" fmla="*/ 2345918 h 3327402"/>
                <a:gd name="connsiteX13" fmla="*/ 344488 w 1962365"/>
                <a:gd name="connsiteY13" fmla="*/ 1884564 h 3327402"/>
                <a:gd name="connsiteX14" fmla="*/ 344488 w 1962365"/>
                <a:gd name="connsiteY14" fmla="*/ 1816216 h 3327402"/>
                <a:gd name="connsiteX15" fmla="*/ 314121 w 1962365"/>
                <a:gd name="connsiteY15" fmla="*/ 1811163 h 3327402"/>
                <a:gd name="connsiteX16" fmla="*/ 292800 w 1962365"/>
                <a:gd name="connsiteY16" fmla="*/ 1814204 h 3327402"/>
                <a:gd name="connsiteX17" fmla="*/ 122238 w 1962365"/>
                <a:gd name="connsiteY17" fmla="*/ 2014877 h 3327402"/>
                <a:gd name="connsiteX18" fmla="*/ 122238 w 1962365"/>
                <a:gd name="connsiteY18" fmla="*/ 2671624 h 3327402"/>
                <a:gd name="connsiteX19" fmla="*/ 655245 w 1962365"/>
                <a:gd name="connsiteY19" fmla="*/ 3206752 h 3327402"/>
                <a:gd name="connsiteX20" fmla="*/ 1316173 w 1962365"/>
                <a:gd name="connsiteY20" fmla="*/ 3206752 h 3327402"/>
                <a:gd name="connsiteX21" fmla="*/ 1660343 w 1962365"/>
                <a:gd name="connsiteY21" fmla="*/ 3069930 h 3327402"/>
                <a:gd name="connsiteX22" fmla="*/ 1840042 w 1962365"/>
                <a:gd name="connsiteY22" fmla="*/ 2635138 h 3327402"/>
                <a:gd name="connsiteX23" fmla="*/ 1836997 w 1962365"/>
                <a:gd name="connsiteY23" fmla="*/ 2200347 h 3327402"/>
                <a:gd name="connsiteX24" fmla="*/ 1836997 w 1962365"/>
                <a:gd name="connsiteY24" fmla="*/ 1865892 h 3327402"/>
                <a:gd name="connsiteX25" fmla="*/ 1766944 w 1962365"/>
                <a:gd name="connsiteY25" fmla="*/ 1710827 h 3327402"/>
                <a:gd name="connsiteX26" fmla="*/ 1691943 w 1962365"/>
                <a:gd name="connsiteY26" fmla="*/ 1673201 h 3327402"/>
                <a:gd name="connsiteX27" fmla="*/ 1627188 w 1962365"/>
                <a:gd name="connsiteY27" fmla="*/ 1674055 h 3327402"/>
                <a:gd name="connsiteX28" fmla="*/ 1627188 w 1962365"/>
                <a:gd name="connsiteY28" fmla="*/ 1739862 h 3327402"/>
                <a:gd name="connsiteX29" fmla="*/ 1627188 w 1962365"/>
                <a:gd name="connsiteY29" fmla="*/ 2002880 h 3327402"/>
                <a:gd name="connsiteX30" fmla="*/ 1566069 w 1962365"/>
                <a:gd name="connsiteY30" fmla="*/ 2063750 h 3327402"/>
                <a:gd name="connsiteX31" fmla="*/ 1504950 w 1962365"/>
                <a:gd name="connsiteY31" fmla="*/ 2002880 h 3327402"/>
                <a:gd name="connsiteX32" fmla="*/ 1504950 w 1962365"/>
                <a:gd name="connsiteY32" fmla="*/ 1659347 h 3327402"/>
                <a:gd name="connsiteX33" fmla="*/ 1504950 w 1962365"/>
                <a:gd name="connsiteY33" fmla="*/ 1634494 h 3327402"/>
                <a:gd name="connsiteX34" fmla="*/ 1492827 w 1962365"/>
                <a:gd name="connsiteY34" fmla="*/ 1616571 h 3327402"/>
                <a:gd name="connsiteX35" fmla="*/ 1343347 w 1962365"/>
                <a:gd name="connsiteY35" fmla="*/ 1504121 h 3327402"/>
                <a:gd name="connsiteX36" fmla="*/ 1295401 w 1962365"/>
                <a:gd name="connsiteY36" fmla="*/ 1508888 h 3327402"/>
                <a:gd name="connsiteX37" fmla="*/ 1295401 w 1962365"/>
                <a:gd name="connsiteY37" fmla="*/ 1587395 h 3327402"/>
                <a:gd name="connsiteX38" fmla="*/ 1295401 w 1962365"/>
                <a:gd name="connsiteY38" fmla="*/ 1853811 h 3327402"/>
                <a:gd name="connsiteX39" fmla="*/ 1234282 w 1962365"/>
                <a:gd name="connsiteY39" fmla="*/ 1914526 h 3327402"/>
                <a:gd name="connsiteX40" fmla="*/ 1173163 w 1962365"/>
                <a:gd name="connsiteY40" fmla="*/ 1853811 h 3327402"/>
                <a:gd name="connsiteX41" fmla="*/ 1173163 w 1962365"/>
                <a:gd name="connsiteY41" fmla="*/ 1505839 h 3327402"/>
                <a:gd name="connsiteX42" fmla="*/ 1173163 w 1962365"/>
                <a:gd name="connsiteY42" fmla="*/ 1481814 h 3327402"/>
                <a:gd name="connsiteX43" fmla="*/ 1154748 w 1962365"/>
                <a:gd name="connsiteY43" fmla="*/ 1452384 h 3327402"/>
                <a:gd name="connsiteX44" fmla="*/ 1014692 w 1962365"/>
                <a:gd name="connsiteY44" fmla="*/ 1336513 h 3327402"/>
                <a:gd name="connsiteX45" fmla="*/ 960438 w 1962365"/>
                <a:gd name="connsiteY45" fmla="*/ 1336809 h 3327402"/>
                <a:gd name="connsiteX46" fmla="*/ 960438 w 1962365"/>
                <a:gd name="connsiteY46" fmla="*/ 1351429 h 3327402"/>
                <a:gd name="connsiteX47" fmla="*/ 960438 w 1962365"/>
                <a:gd name="connsiteY47" fmla="*/ 1856956 h 3327402"/>
                <a:gd name="connsiteX48" fmla="*/ 899319 w 1962365"/>
                <a:gd name="connsiteY48" fmla="*/ 1917701 h 3327402"/>
                <a:gd name="connsiteX49" fmla="*/ 838200 w 1962365"/>
                <a:gd name="connsiteY49" fmla="*/ 1856956 h 3327402"/>
                <a:gd name="connsiteX50" fmla="*/ 838200 w 1962365"/>
                <a:gd name="connsiteY50" fmla="*/ 1244632 h 3327402"/>
                <a:gd name="connsiteX51" fmla="*/ 838200 w 1962365"/>
                <a:gd name="connsiteY51" fmla="*/ 1244582 h 3327402"/>
                <a:gd name="connsiteX52" fmla="*/ 837990 w 1962365"/>
                <a:gd name="connsiteY52" fmla="*/ 1242590 h 3327402"/>
                <a:gd name="connsiteX53" fmla="*/ 837990 w 1962365"/>
                <a:gd name="connsiteY53" fmla="*/ 853406 h 3327402"/>
                <a:gd name="connsiteX54" fmla="*/ 777075 w 1962365"/>
                <a:gd name="connsiteY54" fmla="*/ 713543 h 3327402"/>
                <a:gd name="connsiteX55" fmla="*/ 652199 w 1962365"/>
                <a:gd name="connsiteY55" fmla="*/ 661855 h 3327402"/>
                <a:gd name="connsiteX56" fmla="*/ 639828 w 1962365"/>
                <a:gd name="connsiteY56" fmla="*/ 121613 h 3327402"/>
                <a:gd name="connsiteX57" fmla="*/ 137622 w 1962365"/>
                <a:gd name="connsiteY57" fmla="*/ 626308 h 3327402"/>
                <a:gd name="connsiteX58" fmla="*/ 282720 w 1962365"/>
                <a:gd name="connsiteY58" fmla="*/ 979461 h 3327402"/>
                <a:gd name="connsiteX59" fmla="*/ 345272 w 1962365"/>
                <a:gd name="connsiteY59" fmla="*/ 1028322 h 3327402"/>
                <a:gd name="connsiteX60" fmla="*/ 345456 w 1962365"/>
                <a:gd name="connsiteY60" fmla="*/ 1004557 h 3327402"/>
                <a:gd name="connsiteX61" fmla="*/ 344313 w 1962365"/>
                <a:gd name="connsiteY61" fmla="*/ 857195 h 3327402"/>
                <a:gd name="connsiteX62" fmla="*/ 429629 w 1962365"/>
                <a:gd name="connsiteY62" fmla="*/ 638431 h 3327402"/>
                <a:gd name="connsiteX63" fmla="*/ 649015 w 1962365"/>
                <a:gd name="connsiteY63" fmla="*/ 541203 h 3327402"/>
                <a:gd name="connsiteX64" fmla="*/ 859259 w 1962365"/>
                <a:gd name="connsiteY64" fmla="*/ 626277 h 3327402"/>
                <a:gd name="connsiteX65" fmla="*/ 959810 w 1962365"/>
                <a:gd name="connsiteY65" fmla="*/ 854156 h 3327402"/>
                <a:gd name="connsiteX66" fmla="*/ 961689 w 1962365"/>
                <a:gd name="connsiteY66" fmla="*/ 1008367 h 3327402"/>
                <a:gd name="connsiteX67" fmla="*/ 997413 w 1962365"/>
                <a:gd name="connsiteY67" fmla="*/ 981171 h 3327402"/>
                <a:gd name="connsiteX68" fmla="*/ 1145078 w 1962365"/>
                <a:gd name="connsiteY68" fmla="*/ 626308 h 3327402"/>
                <a:gd name="connsiteX69" fmla="*/ 639828 w 1962365"/>
                <a:gd name="connsiteY69" fmla="*/ 121613 h 3327402"/>
                <a:gd name="connsiteX70" fmla="*/ 639828 w 1962365"/>
                <a:gd name="connsiteY70" fmla="*/ 0 h 3327402"/>
                <a:gd name="connsiteX71" fmla="*/ 1266825 w 1962365"/>
                <a:gd name="connsiteY71" fmla="*/ 626308 h 3327402"/>
                <a:gd name="connsiteX72" fmla="*/ 1024764 w 1962365"/>
                <a:gd name="connsiteY72" fmla="*/ 1121039 h 3327402"/>
                <a:gd name="connsiteX73" fmla="*/ 960481 w 1962365"/>
                <a:gd name="connsiteY73" fmla="*/ 1164696 h 3327402"/>
                <a:gd name="connsiteX74" fmla="*/ 959810 w 1962365"/>
                <a:gd name="connsiteY74" fmla="*/ 1215724 h 3327402"/>
                <a:gd name="connsiteX75" fmla="*/ 1261465 w 1962365"/>
                <a:gd name="connsiteY75" fmla="*/ 1388912 h 3327402"/>
                <a:gd name="connsiteX76" fmla="*/ 1596636 w 1962365"/>
                <a:gd name="connsiteY76" fmla="*/ 1549947 h 3327402"/>
                <a:gd name="connsiteX77" fmla="*/ 1843445 w 1962365"/>
                <a:gd name="connsiteY77" fmla="*/ 1613753 h 3327402"/>
                <a:gd name="connsiteX78" fmla="*/ 1959231 w 1962365"/>
                <a:gd name="connsiteY78" fmla="*/ 1865939 h 3327402"/>
                <a:gd name="connsiteX79" fmla="*/ 1959231 w 1962365"/>
                <a:gd name="connsiteY79" fmla="*/ 2200161 h 3327402"/>
                <a:gd name="connsiteX80" fmla="*/ 1962278 w 1962365"/>
                <a:gd name="connsiteY80" fmla="*/ 2631612 h 3327402"/>
                <a:gd name="connsiteX81" fmla="*/ 1742893 w 1962365"/>
                <a:gd name="connsiteY81" fmla="*/ 3160291 h 3327402"/>
                <a:gd name="connsiteX82" fmla="*/ 1316311 w 1962365"/>
                <a:gd name="connsiteY82" fmla="*/ 3327402 h 3327402"/>
                <a:gd name="connsiteX83" fmla="*/ 981139 w 1962365"/>
                <a:gd name="connsiteY83" fmla="*/ 3327402 h 3327402"/>
                <a:gd name="connsiteX84" fmla="*/ 652062 w 1962365"/>
                <a:gd name="connsiteY84" fmla="*/ 3327402 h 3327402"/>
                <a:gd name="connsiteX85" fmla="*/ 0 w 1962365"/>
                <a:gd name="connsiteY85" fmla="*/ 2674149 h 3327402"/>
                <a:gd name="connsiteX86" fmla="*/ 0 w 1962365"/>
                <a:gd name="connsiteY86" fmla="*/ 2014820 h 3327402"/>
                <a:gd name="connsiteX87" fmla="*/ 271185 w 1962365"/>
                <a:gd name="connsiteY87" fmla="*/ 1695789 h 3327402"/>
                <a:gd name="connsiteX88" fmla="*/ 344313 w 1962365"/>
                <a:gd name="connsiteY88" fmla="*/ 1692751 h 3327402"/>
                <a:gd name="connsiteX89" fmla="*/ 344313 w 1962365"/>
                <a:gd name="connsiteY89" fmla="*/ 1282569 h 3327402"/>
                <a:gd name="connsiteX90" fmla="*/ 344313 w 1962365"/>
                <a:gd name="connsiteY90" fmla="*/ 1276492 h 3327402"/>
                <a:gd name="connsiteX91" fmla="*/ 344313 w 1962365"/>
                <a:gd name="connsiteY91" fmla="*/ 1169483 h 3327402"/>
                <a:gd name="connsiteX92" fmla="*/ 326330 w 1962365"/>
                <a:gd name="connsiteY92" fmla="*/ 1167487 h 3327402"/>
                <a:gd name="connsiteX93" fmla="*/ 15875 w 1962365"/>
                <a:gd name="connsiteY93" fmla="*/ 626308 h 3327402"/>
                <a:gd name="connsiteX94" fmla="*/ 639828 w 1962365"/>
                <a:gd name="connsiteY94" fmla="*/ 0 h 3327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1962365" h="3327402">
                  <a:moveTo>
                    <a:pt x="652199" y="661855"/>
                  </a:moveTo>
                  <a:cubicBezTo>
                    <a:pt x="603467" y="661855"/>
                    <a:pt x="554735" y="683138"/>
                    <a:pt x="518186" y="722665"/>
                  </a:cubicBezTo>
                  <a:cubicBezTo>
                    <a:pt x="484683" y="759151"/>
                    <a:pt x="463362" y="807799"/>
                    <a:pt x="466408" y="853406"/>
                  </a:cubicBezTo>
                  <a:cubicBezTo>
                    <a:pt x="469454" y="953743"/>
                    <a:pt x="466408" y="1054079"/>
                    <a:pt x="466408" y="1151375"/>
                  </a:cubicBezTo>
                  <a:cubicBezTo>
                    <a:pt x="466408" y="1193942"/>
                    <a:pt x="466408" y="1236509"/>
                    <a:pt x="466408" y="1282116"/>
                  </a:cubicBezTo>
                  <a:cubicBezTo>
                    <a:pt x="466408" y="1282116"/>
                    <a:pt x="466408" y="1285157"/>
                    <a:pt x="466408" y="1285157"/>
                  </a:cubicBezTo>
                  <a:cubicBezTo>
                    <a:pt x="466408" y="1726029"/>
                    <a:pt x="466408" y="1726029"/>
                    <a:pt x="466408" y="1726029"/>
                  </a:cubicBezTo>
                  <a:cubicBezTo>
                    <a:pt x="466408" y="1729070"/>
                    <a:pt x="466408" y="1729070"/>
                    <a:pt x="466408" y="1732110"/>
                  </a:cubicBezTo>
                  <a:lnTo>
                    <a:pt x="466280" y="1733367"/>
                  </a:lnTo>
                  <a:lnTo>
                    <a:pt x="466726" y="1735547"/>
                  </a:lnTo>
                  <a:cubicBezTo>
                    <a:pt x="466726" y="2345918"/>
                    <a:pt x="466726" y="2345918"/>
                    <a:pt x="466726" y="2345918"/>
                  </a:cubicBezTo>
                  <a:cubicBezTo>
                    <a:pt x="466726" y="2379321"/>
                    <a:pt x="439223" y="2406651"/>
                    <a:pt x="405607" y="2406651"/>
                  </a:cubicBezTo>
                  <a:cubicBezTo>
                    <a:pt x="371992" y="2406651"/>
                    <a:pt x="344488" y="2379321"/>
                    <a:pt x="344488" y="2345918"/>
                  </a:cubicBezTo>
                  <a:cubicBezTo>
                    <a:pt x="344488" y="2117029"/>
                    <a:pt x="344488" y="1973973"/>
                    <a:pt x="344488" y="1884564"/>
                  </a:cubicBezTo>
                  <a:lnTo>
                    <a:pt x="344488" y="1816216"/>
                  </a:lnTo>
                  <a:lnTo>
                    <a:pt x="314121" y="1811163"/>
                  </a:lnTo>
                  <a:cubicBezTo>
                    <a:pt x="308029" y="1811163"/>
                    <a:pt x="298892" y="1811163"/>
                    <a:pt x="292800" y="1814204"/>
                  </a:cubicBezTo>
                  <a:cubicBezTo>
                    <a:pt x="189245" y="1832447"/>
                    <a:pt x="122238" y="1911500"/>
                    <a:pt x="122238" y="2014877"/>
                  </a:cubicBezTo>
                  <a:cubicBezTo>
                    <a:pt x="122238" y="2233793"/>
                    <a:pt x="122238" y="2455749"/>
                    <a:pt x="122238" y="2671624"/>
                  </a:cubicBezTo>
                  <a:cubicBezTo>
                    <a:pt x="122238" y="2969593"/>
                    <a:pt x="356761" y="3203712"/>
                    <a:pt x="655245" y="3206752"/>
                  </a:cubicBezTo>
                  <a:cubicBezTo>
                    <a:pt x="874539" y="3206752"/>
                    <a:pt x="1096879" y="3206752"/>
                    <a:pt x="1316173" y="3206752"/>
                  </a:cubicBezTo>
                  <a:cubicBezTo>
                    <a:pt x="1447140" y="3203712"/>
                    <a:pt x="1562879" y="3158104"/>
                    <a:pt x="1660343" y="3069930"/>
                  </a:cubicBezTo>
                  <a:cubicBezTo>
                    <a:pt x="1782173" y="2960472"/>
                    <a:pt x="1843088" y="2817568"/>
                    <a:pt x="1840042" y="2635138"/>
                  </a:cubicBezTo>
                  <a:cubicBezTo>
                    <a:pt x="1836997" y="2489194"/>
                    <a:pt x="1836997" y="2343251"/>
                    <a:pt x="1836997" y="2200347"/>
                  </a:cubicBezTo>
                  <a:cubicBezTo>
                    <a:pt x="1836997" y="2090889"/>
                    <a:pt x="1840042" y="1978391"/>
                    <a:pt x="1836997" y="1865892"/>
                  </a:cubicBezTo>
                  <a:cubicBezTo>
                    <a:pt x="1836997" y="1802042"/>
                    <a:pt x="1812631" y="1747313"/>
                    <a:pt x="1766944" y="1710827"/>
                  </a:cubicBezTo>
                  <a:cubicBezTo>
                    <a:pt x="1744101" y="1692584"/>
                    <a:pt x="1718974" y="1679662"/>
                    <a:pt x="1691943" y="1673201"/>
                  </a:cubicBezTo>
                  <a:lnTo>
                    <a:pt x="1627188" y="1674055"/>
                  </a:lnTo>
                  <a:lnTo>
                    <a:pt x="1627188" y="1739862"/>
                  </a:lnTo>
                  <a:cubicBezTo>
                    <a:pt x="1627188" y="2002880"/>
                    <a:pt x="1627188" y="2002880"/>
                    <a:pt x="1627188" y="2002880"/>
                  </a:cubicBezTo>
                  <a:cubicBezTo>
                    <a:pt x="1627188" y="2036359"/>
                    <a:pt x="1599685" y="2063750"/>
                    <a:pt x="1566069" y="2063750"/>
                  </a:cubicBezTo>
                  <a:cubicBezTo>
                    <a:pt x="1532454" y="2063750"/>
                    <a:pt x="1504950" y="2036359"/>
                    <a:pt x="1504950" y="2002880"/>
                  </a:cubicBezTo>
                  <a:cubicBezTo>
                    <a:pt x="1504950" y="1806575"/>
                    <a:pt x="1504950" y="1708423"/>
                    <a:pt x="1504950" y="1659347"/>
                  </a:cubicBezTo>
                  <a:lnTo>
                    <a:pt x="1504950" y="1634494"/>
                  </a:lnTo>
                  <a:lnTo>
                    <a:pt x="1492827" y="1616571"/>
                  </a:lnTo>
                  <a:cubicBezTo>
                    <a:pt x="1456278" y="1550441"/>
                    <a:pt x="1402597" y="1509964"/>
                    <a:pt x="1343347" y="1504121"/>
                  </a:cubicBezTo>
                  <a:lnTo>
                    <a:pt x="1295401" y="1508888"/>
                  </a:lnTo>
                  <a:lnTo>
                    <a:pt x="1295401" y="1587395"/>
                  </a:lnTo>
                  <a:cubicBezTo>
                    <a:pt x="1295401" y="1853811"/>
                    <a:pt x="1295401" y="1853811"/>
                    <a:pt x="1295401" y="1853811"/>
                  </a:cubicBezTo>
                  <a:cubicBezTo>
                    <a:pt x="1295401" y="1887204"/>
                    <a:pt x="1270954" y="1914526"/>
                    <a:pt x="1234282" y="1914526"/>
                  </a:cubicBezTo>
                  <a:cubicBezTo>
                    <a:pt x="1200667" y="1914526"/>
                    <a:pt x="1173163" y="1887204"/>
                    <a:pt x="1173163" y="1853811"/>
                  </a:cubicBezTo>
                  <a:cubicBezTo>
                    <a:pt x="1173163" y="1654970"/>
                    <a:pt x="1173163" y="1555549"/>
                    <a:pt x="1173163" y="1505839"/>
                  </a:cubicBezTo>
                  <a:lnTo>
                    <a:pt x="1173163" y="1481814"/>
                  </a:lnTo>
                  <a:lnTo>
                    <a:pt x="1154748" y="1452384"/>
                  </a:lnTo>
                  <a:cubicBezTo>
                    <a:pt x="1127336" y="1388534"/>
                    <a:pt x="1074226" y="1346917"/>
                    <a:pt x="1014692" y="1336513"/>
                  </a:cubicBezTo>
                  <a:lnTo>
                    <a:pt x="960438" y="1336809"/>
                  </a:lnTo>
                  <a:lnTo>
                    <a:pt x="960438" y="1351429"/>
                  </a:lnTo>
                  <a:cubicBezTo>
                    <a:pt x="960438" y="1856956"/>
                    <a:pt x="960438" y="1856956"/>
                    <a:pt x="960438" y="1856956"/>
                  </a:cubicBezTo>
                  <a:cubicBezTo>
                    <a:pt x="960438" y="1890366"/>
                    <a:pt x="932935" y="1917701"/>
                    <a:pt x="899319" y="1917701"/>
                  </a:cubicBezTo>
                  <a:cubicBezTo>
                    <a:pt x="865704" y="1917701"/>
                    <a:pt x="838200" y="1890366"/>
                    <a:pt x="838200" y="1856956"/>
                  </a:cubicBezTo>
                  <a:cubicBezTo>
                    <a:pt x="838200" y="1320124"/>
                    <a:pt x="838200" y="1253020"/>
                    <a:pt x="838200" y="1244632"/>
                  </a:cubicBezTo>
                  <a:lnTo>
                    <a:pt x="838200" y="1244582"/>
                  </a:lnTo>
                  <a:lnTo>
                    <a:pt x="837990" y="1242590"/>
                  </a:lnTo>
                  <a:cubicBezTo>
                    <a:pt x="841036" y="1127051"/>
                    <a:pt x="841036" y="993269"/>
                    <a:pt x="837990" y="853406"/>
                  </a:cubicBezTo>
                  <a:cubicBezTo>
                    <a:pt x="837990" y="801718"/>
                    <a:pt x="816670" y="750029"/>
                    <a:pt x="777075" y="713543"/>
                  </a:cubicBezTo>
                  <a:cubicBezTo>
                    <a:pt x="740526" y="677057"/>
                    <a:pt x="694840" y="658814"/>
                    <a:pt x="652199" y="661855"/>
                  </a:cubicBezTo>
                  <a:close/>
                  <a:moveTo>
                    <a:pt x="639828" y="121613"/>
                  </a:moveTo>
                  <a:cubicBezTo>
                    <a:pt x="362854" y="121613"/>
                    <a:pt x="137622" y="346598"/>
                    <a:pt x="137622" y="626308"/>
                  </a:cubicBezTo>
                  <a:cubicBezTo>
                    <a:pt x="137622" y="758562"/>
                    <a:pt x="190696" y="885686"/>
                    <a:pt x="282720" y="979461"/>
                  </a:cubicBezTo>
                  <a:lnTo>
                    <a:pt x="345272" y="1028322"/>
                  </a:lnTo>
                  <a:lnTo>
                    <a:pt x="345456" y="1004557"/>
                  </a:lnTo>
                  <a:cubicBezTo>
                    <a:pt x="345837" y="955183"/>
                    <a:pt x="345837" y="905809"/>
                    <a:pt x="344313" y="857195"/>
                  </a:cubicBezTo>
                  <a:cubicBezTo>
                    <a:pt x="341266" y="781235"/>
                    <a:pt x="371736" y="699199"/>
                    <a:pt x="429629" y="638431"/>
                  </a:cubicBezTo>
                  <a:cubicBezTo>
                    <a:pt x="490570" y="577663"/>
                    <a:pt x="566745" y="541203"/>
                    <a:pt x="649015" y="541203"/>
                  </a:cubicBezTo>
                  <a:cubicBezTo>
                    <a:pt x="725190" y="538164"/>
                    <a:pt x="801365" y="568548"/>
                    <a:pt x="859259" y="626277"/>
                  </a:cubicBezTo>
                  <a:cubicBezTo>
                    <a:pt x="923246" y="687045"/>
                    <a:pt x="959810" y="769081"/>
                    <a:pt x="959810" y="854156"/>
                  </a:cubicBezTo>
                  <a:lnTo>
                    <a:pt x="961689" y="1008367"/>
                  </a:lnTo>
                  <a:lnTo>
                    <a:pt x="997413" y="981171"/>
                  </a:lnTo>
                  <a:cubicBezTo>
                    <a:pt x="1090292" y="888536"/>
                    <a:pt x="1145078" y="760842"/>
                    <a:pt x="1145078" y="626308"/>
                  </a:cubicBezTo>
                  <a:cubicBezTo>
                    <a:pt x="1145078" y="346598"/>
                    <a:pt x="919846" y="121613"/>
                    <a:pt x="639828" y="121613"/>
                  </a:cubicBezTo>
                  <a:close/>
                  <a:moveTo>
                    <a:pt x="639828" y="0"/>
                  </a:moveTo>
                  <a:cubicBezTo>
                    <a:pt x="986807" y="0"/>
                    <a:pt x="1266825" y="279710"/>
                    <a:pt x="1266825" y="626308"/>
                  </a:cubicBezTo>
                  <a:cubicBezTo>
                    <a:pt x="1266825" y="820509"/>
                    <a:pt x="1175943" y="1003071"/>
                    <a:pt x="1024764" y="1121039"/>
                  </a:cubicBezTo>
                  <a:lnTo>
                    <a:pt x="960481" y="1164696"/>
                  </a:lnTo>
                  <a:lnTo>
                    <a:pt x="959810" y="1215724"/>
                  </a:lnTo>
                  <a:cubicBezTo>
                    <a:pt x="1084738" y="1203571"/>
                    <a:pt x="1200524" y="1273454"/>
                    <a:pt x="1261465" y="1388912"/>
                  </a:cubicBezTo>
                  <a:cubicBezTo>
                    <a:pt x="1392486" y="1358528"/>
                    <a:pt x="1523508" y="1422334"/>
                    <a:pt x="1596636" y="1549947"/>
                  </a:cubicBezTo>
                  <a:cubicBezTo>
                    <a:pt x="1688047" y="1537793"/>
                    <a:pt x="1776410" y="1559062"/>
                    <a:pt x="1843445" y="1613753"/>
                  </a:cubicBezTo>
                  <a:cubicBezTo>
                    <a:pt x="1916573" y="1674520"/>
                    <a:pt x="1959231" y="1765672"/>
                    <a:pt x="1959231" y="1865939"/>
                  </a:cubicBezTo>
                  <a:cubicBezTo>
                    <a:pt x="1962278" y="1975321"/>
                    <a:pt x="1959231" y="2090779"/>
                    <a:pt x="1959231" y="2200161"/>
                  </a:cubicBezTo>
                  <a:cubicBezTo>
                    <a:pt x="1959231" y="2339927"/>
                    <a:pt x="1959231" y="2488808"/>
                    <a:pt x="1962278" y="2631612"/>
                  </a:cubicBezTo>
                  <a:cubicBezTo>
                    <a:pt x="1965325" y="2847337"/>
                    <a:pt x="1889150" y="3026602"/>
                    <a:pt x="1742893" y="3160291"/>
                  </a:cubicBezTo>
                  <a:cubicBezTo>
                    <a:pt x="1621012" y="3269673"/>
                    <a:pt x="1477803" y="3324364"/>
                    <a:pt x="1316311" y="3327402"/>
                  </a:cubicBezTo>
                  <a:cubicBezTo>
                    <a:pt x="1206618" y="3327402"/>
                    <a:pt x="1093879" y="3327402"/>
                    <a:pt x="981139" y="3327402"/>
                  </a:cubicBezTo>
                  <a:cubicBezTo>
                    <a:pt x="871447" y="3327402"/>
                    <a:pt x="761754" y="3327402"/>
                    <a:pt x="652062" y="3327402"/>
                  </a:cubicBezTo>
                  <a:cubicBezTo>
                    <a:pt x="289467" y="3324364"/>
                    <a:pt x="3047" y="3035717"/>
                    <a:pt x="0" y="2674149"/>
                  </a:cubicBezTo>
                  <a:cubicBezTo>
                    <a:pt x="0" y="2455386"/>
                    <a:pt x="0" y="2233583"/>
                    <a:pt x="0" y="2014820"/>
                  </a:cubicBezTo>
                  <a:cubicBezTo>
                    <a:pt x="0" y="1853785"/>
                    <a:pt x="109693" y="1723135"/>
                    <a:pt x="271185" y="1695789"/>
                  </a:cubicBezTo>
                  <a:cubicBezTo>
                    <a:pt x="295561" y="1689712"/>
                    <a:pt x="319937" y="1689712"/>
                    <a:pt x="344313" y="1692751"/>
                  </a:cubicBezTo>
                  <a:cubicBezTo>
                    <a:pt x="344313" y="1282569"/>
                    <a:pt x="344313" y="1282569"/>
                    <a:pt x="344313" y="1282569"/>
                  </a:cubicBezTo>
                  <a:cubicBezTo>
                    <a:pt x="344313" y="1279530"/>
                    <a:pt x="344313" y="1279530"/>
                    <a:pt x="344313" y="1276492"/>
                  </a:cubicBezTo>
                  <a:lnTo>
                    <a:pt x="344313" y="1169483"/>
                  </a:lnTo>
                  <a:lnTo>
                    <a:pt x="326330" y="1167487"/>
                  </a:lnTo>
                  <a:cubicBezTo>
                    <a:pt x="134579" y="1054994"/>
                    <a:pt x="15875" y="848252"/>
                    <a:pt x="15875" y="626308"/>
                  </a:cubicBezTo>
                  <a:cubicBezTo>
                    <a:pt x="15875" y="279710"/>
                    <a:pt x="295893" y="0"/>
                    <a:pt x="639828" y="0"/>
                  </a:cubicBezTo>
                  <a:close/>
                </a:path>
              </a:pathLst>
            </a:custGeom>
            <a:solidFill>
              <a:srgbClr val="0078D7"/>
            </a:solidFill>
            <a:ln>
              <a:noFill/>
            </a:ln>
            <a:extLst/>
          </p:spPr>
          <p:txBody>
            <a:bodyPr vert="horz" wrap="square" lIns="91427" tIns="45713" rIns="91427" bIns="45713" numCol="1" anchor="t" anchorCtr="0" compatLnSpc="1">
              <a:prstTxWarp prst="textNoShape">
                <a:avLst/>
              </a:prstTxWarp>
              <a:noAutofit/>
            </a:bodyPr>
            <a:lstStyle/>
            <a:p>
              <a:pPr defTabSz="914225">
                <a:defRPr/>
              </a:pPr>
              <a:endParaRPr lang="en-US" sz="1600" kern="0" dirty="0">
                <a:solidFill>
                  <a:srgbClr val="FFFFFF"/>
                </a:solidFill>
                <a:latin typeface="Segoe UI"/>
              </a:endParaRPr>
            </a:p>
          </p:txBody>
        </p:sp>
      </p:grpSp>
      <p:grpSp>
        <p:nvGrpSpPr>
          <p:cNvPr id="112" name="Group 111"/>
          <p:cNvGrpSpPr>
            <a:grpSpLocks noChangeAspect="1"/>
          </p:cNvGrpSpPr>
          <p:nvPr/>
        </p:nvGrpSpPr>
        <p:grpSpPr>
          <a:xfrm>
            <a:off x="6008542" y="3580100"/>
            <a:ext cx="294009" cy="292566"/>
            <a:chOff x="8580718" y="793097"/>
            <a:chExt cx="2587625" cy="2574925"/>
          </a:xfrm>
        </p:grpSpPr>
        <p:sp>
          <p:nvSpPr>
            <p:cNvPr id="113" name="Freeform 34"/>
            <p:cNvSpPr>
              <a:spLocks/>
            </p:cNvSpPr>
            <p:nvPr/>
          </p:nvSpPr>
          <p:spPr bwMode="auto">
            <a:xfrm>
              <a:off x="9477655" y="1434447"/>
              <a:ext cx="792163" cy="1312862"/>
            </a:xfrm>
            <a:custGeom>
              <a:avLst/>
              <a:gdLst>
                <a:gd name="T0" fmla="*/ 1459 w 1508"/>
                <a:gd name="T1" fmla="*/ 930 h 2501"/>
                <a:gd name="T2" fmla="*/ 837 w 1508"/>
                <a:gd name="T3" fmla="*/ 930 h 2501"/>
                <a:gd name="T4" fmla="*/ 1097 w 1508"/>
                <a:gd name="T5" fmla="*/ 63 h 2501"/>
                <a:gd name="T6" fmla="*/ 1072 w 1508"/>
                <a:gd name="T7" fmla="*/ 4 h 2501"/>
                <a:gd name="T8" fmla="*/ 1053 w 1508"/>
                <a:gd name="T9" fmla="*/ 0 h 2501"/>
                <a:gd name="T10" fmla="*/ 1014 w 1508"/>
                <a:gd name="T11" fmla="*/ 19 h 2501"/>
                <a:gd name="T12" fmla="*/ 10 w 1508"/>
                <a:gd name="T13" fmla="*/ 1483 h 2501"/>
                <a:gd name="T14" fmla="*/ 5 w 1508"/>
                <a:gd name="T15" fmla="*/ 1532 h 2501"/>
                <a:gd name="T16" fmla="*/ 49 w 1508"/>
                <a:gd name="T17" fmla="*/ 1556 h 2501"/>
                <a:gd name="T18" fmla="*/ 651 w 1508"/>
                <a:gd name="T19" fmla="*/ 1556 h 2501"/>
                <a:gd name="T20" fmla="*/ 382 w 1508"/>
                <a:gd name="T21" fmla="*/ 2438 h 2501"/>
                <a:gd name="T22" fmla="*/ 407 w 1508"/>
                <a:gd name="T23" fmla="*/ 2497 h 2501"/>
                <a:gd name="T24" fmla="*/ 426 w 1508"/>
                <a:gd name="T25" fmla="*/ 2501 h 2501"/>
                <a:gd name="T26" fmla="*/ 465 w 1508"/>
                <a:gd name="T27" fmla="*/ 2482 h 2501"/>
                <a:gd name="T28" fmla="*/ 1498 w 1508"/>
                <a:gd name="T29" fmla="*/ 1003 h 2501"/>
                <a:gd name="T30" fmla="*/ 1508 w 1508"/>
                <a:gd name="T31" fmla="*/ 974 h 2501"/>
                <a:gd name="T32" fmla="*/ 1459 w 1508"/>
                <a:gd name="T33" fmla="*/ 930 h 2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08" h="2501">
                  <a:moveTo>
                    <a:pt x="1459" y="930"/>
                  </a:moveTo>
                  <a:lnTo>
                    <a:pt x="837" y="930"/>
                  </a:lnTo>
                  <a:lnTo>
                    <a:pt x="1097" y="63"/>
                  </a:lnTo>
                  <a:cubicBezTo>
                    <a:pt x="1102" y="39"/>
                    <a:pt x="1092" y="14"/>
                    <a:pt x="1072" y="4"/>
                  </a:cubicBezTo>
                  <a:cubicBezTo>
                    <a:pt x="1068" y="0"/>
                    <a:pt x="1058" y="0"/>
                    <a:pt x="1053" y="0"/>
                  </a:cubicBezTo>
                  <a:cubicBezTo>
                    <a:pt x="1038" y="0"/>
                    <a:pt x="1024" y="9"/>
                    <a:pt x="1014" y="19"/>
                  </a:cubicBezTo>
                  <a:lnTo>
                    <a:pt x="10" y="1483"/>
                  </a:lnTo>
                  <a:cubicBezTo>
                    <a:pt x="0" y="1498"/>
                    <a:pt x="0" y="1517"/>
                    <a:pt x="5" y="1532"/>
                  </a:cubicBezTo>
                  <a:cubicBezTo>
                    <a:pt x="15" y="1547"/>
                    <a:pt x="30" y="1556"/>
                    <a:pt x="49" y="1556"/>
                  </a:cubicBezTo>
                  <a:lnTo>
                    <a:pt x="651" y="1556"/>
                  </a:lnTo>
                  <a:lnTo>
                    <a:pt x="382" y="2438"/>
                  </a:lnTo>
                  <a:cubicBezTo>
                    <a:pt x="377" y="2462"/>
                    <a:pt x="387" y="2487"/>
                    <a:pt x="407" y="2497"/>
                  </a:cubicBezTo>
                  <a:cubicBezTo>
                    <a:pt x="412" y="2501"/>
                    <a:pt x="421" y="2501"/>
                    <a:pt x="426" y="2501"/>
                  </a:cubicBezTo>
                  <a:cubicBezTo>
                    <a:pt x="441" y="2501"/>
                    <a:pt x="456" y="2492"/>
                    <a:pt x="465" y="2482"/>
                  </a:cubicBezTo>
                  <a:lnTo>
                    <a:pt x="1498" y="1003"/>
                  </a:lnTo>
                  <a:cubicBezTo>
                    <a:pt x="1503" y="993"/>
                    <a:pt x="1508" y="984"/>
                    <a:pt x="1508" y="974"/>
                  </a:cubicBezTo>
                  <a:cubicBezTo>
                    <a:pt x="1508" y="949"/>
                    <a:pt x="1484" y="930"/>
                    <a:pt x="1459" y="930"/>
                  </a:cubicBezTo>
                  <a:close/>
                </a:path>
              </a:pathLst>
            </a:custGeom>
            <a:solidFill>
              <a:srgbClr val="FFFFFF"/>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kern="0" dirty="0">
                <a:solidFill>
                  <a:sysClr val="windowText" lastClr="000000"/>
                </a:solidFill>
                <a:latin typeface="Segoe UI"/>
              </a:endParaRPr>
            </a:p>
          </p:txBody>
        </p:sp>
        <p:sp>
          <p:nvSpPr>
            <p:cNvPr id="114" name="Freeform 35"/>
            <p:cNvSpPr>
              <a:spLocks noEditPoints="1"/>
            </p:cNvSpPr>
            <p:nvPr/>
          </p:nvSpPr>
          <p:spPr bwMode="auto">
            <a:xfrm>
              <a:off x="8580718" y="793097"/>
              <a:ext cx="2587625" cy="2574925"/>
            </a:xfrm>
            <a:custGeom>
              <a:avLst/>
              <a:gdLst>
                <a:gd name="T0" fmla="*/ 3231 w 4925"/>
                <a:gd name="T1" fmla="*/ 4866 h 4910"/>
                <a:gd name="T2" fmla="*/ 3422 w 4925"/>
                <a:gd name="T3" fmla="*/ 4910 h 4910"/>
                <a:gd name="T4" fmla="*/ 3579 w 4925"/>
                <a:gd name="T5" fmla="*/ 4881 h 4910"/>
                <a:gd name="T6" fmla="*/ 3833 w 4925"/>
                <a:gd name="T7" fmla="*/ 4646 h 4910"/>
                <a:gd name="T8" fmla="*/ 3899 w 4925"/>
                <a:gd name="T9" fmla="*/ 4509 h 4910"/>
                <a:gd name="T10" fmla="*/ 4063 w 4925"/>
                <a:gd name="T11" fmla="*/ 4509 h 4910"/>
                <a:gd name="T12" fmla="*/ 4509 w 4925"/>
                <a:gd name="T13" fmla="*/ 4063 h 4910"/>
                <a:gd name="T14" fmla="*/ 4509 w 4925"/>
                <a:gd name="T15" fmla="*/ 2794 h 4910"/>
                <a:gd name="T16" fmla="*/ 4866 w 4925"/>
                <a:gd name="T17" fmla="*/ 2031 h 4910"/>
                <a:gd name="T18" fmla="*/ 4881 w 4925"/>
                <a:gd name="T19" fmla="*/ 1679 h 4910"/>
                <a:gd name="T20" fmla="*/ 4646 w 4925"/>
                <a:gd name="T21" fmla="*/ 1424 h 4910"/>
                <a:gd name="T22" fmla="*/ 4509 w 4925"/>
                <a:gd name="T23" fmla="*/ 1358 h 4910"/>
                <a:gd name="T24" fmla="*/ 4509 w 4925"/>
                <a:gd name="T25" fmla="*/ 856 h 4910"/>
                <a:gd name="T26" fmla="*/ 4063 w 4925"/>
                <a:gd name="T27" fmla="*/ 411 h 4910"/>
                <a:gd name="T28" fmla="*/ 2779 w 4925"/>
                <a:gd name="T29" fmla="*/ 411 h 4910"/>
                <a:gd name="T30" fmla="*/ 2026 w 4925"/>
                <a:gd name="T31" fmla="*/ 58 h 4910"/>
                <a:gd name="T32" fmla="*/ 1679 w 4925"/>
                <a:gd name="T33" fmla="*/ 44 h 4910"/>
                <a:gd name="T34" fmla="*/ 1424 w 4925"/>
                <a:gd name="T35" fmla="*/ 279 h 4910"/>
                <a:gd name="T36" fmla="*/ 1360 w 4925"/>
                <a:gd name="T37" fmla="*/ 411 h 4910"/>
                <a:gd name="T38" fmla="*/ 856 w 4925"/>
                <a:gd name="T39" fmla="*/ 411 h 4910"/>
                <a:gd name="T40" fmla="*/ 411 w 4925"/>
                <a:gd name="T41" fmla="*/ 856 h 4910"/>
                <a:gd name="T42" fmla="*/ 411 w 4925"/>
                <a:gd name="T43" fmla="*/ 2478 h 4910"/>
                <a:gd name="T44" fmla="*/ 58 w 4925"/>
                <a:gd name="T45" fmla="*/ 3231 h 4910"/>
                <a:gd name="T46" fmla="*/ 44 w 4925"/>
                <a:gd name="T47" fmla="*/ 3579 h 4910"/>
                <a:gd name="T48" fmla="*/ 279 w 4925"/>
                <a:gd name="T49" fmla="*/ 3833 h 4910"/>
                <a:gd name="T50" fmla="*/ 411 w 4925"/>
                <a:gd name="T51" fmla="*/ 3897 h 4910"/>
                <a:gd name="T52" fmla="*/ 411 w 4925"/>
                <a:gd name="T53" fmla="*/ 4063 h 4910"/>
                <a:gd name="T54" fmla="*/ 856 w 4925"/>
                <a:gd name="T55" fmla="*/ 4509 h 4910"/>
                <a:gd name="T56" fmla="*/ 2468 w 4925"/>
                <a:gd name="T57" fmla="*/ 4509 h 4910"/>
                <a:gd name="T58" fmla="*/ 3231 w 4925"/>
                <a:gd name="T59" fmla="*/ 4866 h 4910"/>
                <a:gd name="T60" fmla="*/ 856 w 4925"/>
                <a:gd name="T61" fmla="*/ 705 h 4910"/>
                <a:gd name="T62" fmla="*/ 4063 w 4925"/>
                <a:gd name="T63" fmla="*/ 705 h 4910"/>
                <a:gd name="T64" fmla="*/ 4210 w 4925"/>
                <a:gd name="T65" fmla="*/ 851 h 4910"/>
                <a:gd name="T66" fmla="*/ 4210 w 4925"/>
                <a:gd name="T67" fmla="*/ 4058 h 4910"/>
                <a:gd name="T68" fmla="*/ 4063 w 4925"/>
                <a:gd name="T69" fmla="*/ 4205 h 4910"/>
                <a:gd name="T70" fmla="*/ 856 w 4925"/>
                <a:gd name="T71" fmla="*/ 4205 h 4910"/>
                <a:gd name="T72" fmla="*/ 709 w 4925"/>
                <a:gd name="T73" fmla="*/ 4058 h 4910"/>
                <a:gd name="T74" fmla="*/ 709 w 4925"/>
                <a:gd name="T75" fmla="*/ 851 h 4910"/>
                <a:gd name="T76" fmla="*/ 856 w 4925"/>
                <a:gd name="T77" fmla="*/ 705 h 4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925" h="4910">
                  <a:moveTo>
                    <a:pt x="3231" y="4866"/>
                  </a:moveTo>
                  <a:cubicBezTo>
                    <a:pt x="3290" y="4896"/>
                    <a:pt x="3358" y="4910"/>
                    <a:pt x="3422" y="4910"/>
                  </a:cubicBezTo>
                  <a:cubicBezTo>
                    <a:pt x="3476" y="4910"/>
                    <a:pt x="3525" y="4900"/>
                    <a:pt x="3579" y="4881"/>
                  </a:cubicBezTo>
                  <a:cubicBezTo>
                    <a:pt x="3691" y="4842"/>
                    <a:pt x="3784" y="4758"/>
                    <a:pt x="3833" y="4646"/>
                  </a:cubicBezTo>
                  <a:lnTo>
                    <a:pt x="3899" y="4509"/>
                  </a:lnTo>
                  <a:lnTo>
                    <a:pt x="4063" y="4509"/>
                  </a:lnTo>
                  <a:cubicBezTo>
                    <a:pt x="4308" y="4509"/>
                    <a:pt x="4509" y="4308"/>
                    <a:pt x="4509" y="4063"/>
                  </a:cubicBezTo>
                  <a:lnTo>
                    <a:pt x="4509" y="2794"/>
                  </a:lnTo>
                  <a:lnTo>
                    <a:pt x="4866" y="2031"/>
                  </a:lnTo>
                  <a:cubicBezTo>
                    <a:pt x="4920" y="1919"/>
                    <a:pt x="4925" y="1796"/>
                    <a:pt x="4881" y="1679"/>
                  </a:cubicBezTo>
                  <a:cubicBezTo>
                    <a:pt x="4842" y="1566"/>
                    <a:pt x="4758" y="1473"/>
                    <a:pt x="4646" y="1424"/>
                  </a:cubicBezTo>
                  <a:lnTo>
                    <a:pt x="4509" y="1358"/>
                  </a:lnTo>
                  <a:lnTo>
                    <a:pt x="4509" y="856"/>
                  </a:lnTo>
                  <a:cubicBezTo>
                    <a:pt x="4509" y="612"/>
                    <a:pt x="4308" y="411"/>
                    <a:pt x="4063" y="411"/>
                  </a:cubicBezTo>
                  <a:lnTo>
                    <a:pt x="2779" y="411"/>
                  </a:lnTo>
                  <a:lnTo>
                    <a:pt x="2026" y="58"/>
                  </a:lnTo>
                  <a:cubicBezTo>
                    <a:pt x="1919" y="9"/>
                    <a:pt x="1791" y="0"/>
                    <a:pt x="1679" y="44"/>
                  </a:cubicBezTo>
                  <a:cubicBezTo>
                    <a:pt x="1566" y="83"/>
                    <a:pt x="1473" y="166"/>
                    <a:pt x="1424" y="279"/>
                  </a:cubicBezTo>
                  <a:lnTo>
                    <a:pt x="1360" y="411"/>
                  </a:lnTo>
                  <a:lnTo>
                    <a:pt x="856" y="411"/>
                  </a:lnTo>
                  <a:cubicBezTo>
                    <a:pt x="612" y="411"/>
                    <a:pt x="411" y="612"/>
                    <a:pt x="411" y="856"/>
                  </a:cubicBezTo>
                  <a:lnTo>
                    <a:pt x="411" y="2478"/>
                  </a:lnTo>
                  <a:lnTo>
                    <a:pt x="58" y="3231"/>
                  </a:lnTo>
                  <a:cubicBezTo>
                    <a:pt x="9" y="3339"/>
                    <a:pt x="0" y="3466"/>
                    <a:pt x="44" y="3579"/>
                  </a:cubicBezTo>
                  <a:cubicBezTo>
                    <a:pt x="83" y="3691"/>
                    <a:pt x="166" y="3784"/>
                    <a:pt x="279" y="3833"/>
                  </a:cubicBezTo>
                  <a:lnTo>
                    <a:pt x="411" y="3897"/>
                  </a:lnTo>
                  <a:lnTo>
                    <a:pt x="411" y="4063"/>
                  </a:lnTo>
                  <a:cubicBezTo>
                    <a:pt x="411" y="4308"/>
                    <a:pt x="612" y="4509"/>
                    <a:pt x="856" y="4509"/>
                  </a:cubicBezTo>
                  <a:lnTo>
                    <a:pt x="2468" y="4509"/>
                  </a:lnTo>
                  <a:lnTo>
                    <a:pt x="3231" y="4866"/>
                  </a:lnTo>
                  <a:close/>
                  <a:moveTo>
                    <a:pt x="856" y="705"/>
                  </a:moveTo>
                  <a:lnTo>
                    <a:pt x="4063" y="705"/>
                  </a:lnTo>
                  <a:cubicBezTo>
                    <a:pt x="4142" y="705"/>
                    <a:pt x="4210" y="768"/>
                    <a:pt x="4210" y="851"/>
                  </a:cubicBezTo>
                  <a:lnTo>
                    <a:pt x="4210" y="4058"/>
                  </a:lnTo>
                  <a:cubicBezTo>
                    <a:pt x="4210" y="4137"/>
                    <a:pt x="4146" y="4205"/>
                    <a:pt x="4063" y="4205"/>
                  </a:cubicBezTo>
                  <a:lnTo>
                    <a:pt x="856" y="4205"/>
                  </a:lnTo>
                  <a:cubicBezTo>
                    <a:pt x="778" y="4205"/>
                    <a:pt x="709" y="4142"/>
                    <a:pt x="709" y="4058"/>
                  </a:cubicBezTo>
                  <a:lnTo>
                    <a:pt x="709" y="851"/>
                  </a:lnTo>
                  <a:cubicBezTo>
                    <a:pt x="709" y="773"/>
                    <a:pt x="773" y="705"/>
                    <a:pt x="856" y="705"/>
                  </a:cubicBezTo>
                  <a:close/>
                </a:path>
              </a:pathLst>
            </a:custGeom>
            <a:solidFill>
              <a:srgbClr val="FFFFFF"/>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kern="0" dirty="0">
                <a:solidFill>
                  <a:sysClr val="windowText" lastClr="000000"/>
                </a:solidFill>
                <a:latin typeface="Segoe UI"/>
              </a:endParaRPr>
            </a:p>
          </p:txBody>
        </p:sp>
      </p:grpSp>
      <p:grpSp>
        <p:nvGrpSpPr>
          <p:cNvPr id="115" name="Group 114"/>
          <p:cNvGrpSpPr>
            <a:grpSpLocks noChangeAspect="1"/>
          </p:cNvGrpSpPr>
          <p:nvPr/>
        </p:nvGrpSpPr>
        <p:grpSpPr>
          <a:xfrm>
            <a:off x="4165846" y="2965533"/>
            <a:ext cx="292566" cy="229358"/>
            <a:chOff x="8588655" y="3482322"/>
            <a:chExt cx="2571750" cy="2016125"/>
          </a:xfrm>
        </p:grpSpPr>
        <p:sp>
          <p:nvSpPr>
            <p:cNvPr id="116" name="Freeform 36"/>
            <p:cNvSpPr>
              <a:spLocks/>
            </p:cNvSpPr>
            <p:nvPr/>
          </p:nvSpPr>
          <p:spPr bwMode="auto">
            <a:xfrm>
              <a:off x="8588655" y="3482322"/>
              <a:ext cx="1547813" cy="241300"/>
            </a:xfrm>
            <a:custGeom>
              <a:avLst/>
              <a:gdLst>
                <a:gd name="T0" fmla="*/ 2894 w 2948"/>
                <a:gd name="T1" fmla="*/ 397 h 460"/>
                <a:gd name="T2" fmla="*/ 2752 w 2948"/>
                <a:gd name="T3" fmla="*/ 152 h 460"/>
                <a:gd name="T4" fmla="*/ 2488 w 2948"/>
                <a:gd name="T5" fmla="*/ 0 h 460"/>
                <a:gd name="T6" fmla="*/ 304 w 2948"/>
                <a:gd name="T7" fmla="*/ 0 h 460"/>
                <a:gd name="T8" fmla="*/ 0 w 2948"/>
                <a:gd name="T9" fmla="*/ 304 h 460"/>
                <a:gd name="T10" fmla="*/ 0 w 2948"/>
                <a:gd name="T11" fmla="*/ 460 h 460"/>
                <a:gd name="T12" fmla="*/ 2948 w 2948"/>
                <a:gd name="T13" fmla="*/ 460 h 460"/>
                <a:gd name="T14" fmla="*/ 2894 w 2948"/>
                <a:gd name="T15" fmla="*/ 397 h 4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48" h="460">
                  <a:moveTo>
                    <a:pt x="2894" y="397"/>
                  </a:moveTo>
                  <a:lnTo>
                    <a:pt x="2752" y="152"/>
                  </a:lnTo>
                  <a:cubicBezTo>
                    <a:pt x="2698" y="59"/>
                    <a:pt x="2595" y="0"/>
                    <a:pt x="2488" y="0"/>
                  </a:cubicBezTo>
                  <a:lnTo>
                    <a:pt x="304" y="0"/>
                  </a:lnTo>
                  <a:cubicBezTo>
                    <a:pt x="138" y="0"/>
                    <a:pt x="0" y="137"/>
                    <a:pt x="0" y="304"/>
                  </a:cubicBezTo>
                  <a:lnTo>
                    <a:pt x="0" y="460"/>
                  </a:lnTo>
                  <a:lnTo>
                    <a:pt x="2948" y="460"/>
                  </a:lnTo>
                  <a:cubicBezTo>
                    <a:pt x="2923" y="446"/>
                    <a:pt x="2909" y="421"/>
                    <a:pt x="2894" y="397"/>
                  </a:cubicBezTo>
                  <a:close/>
                </a:path>
              </a:pathLst>
            </a:custGeom>
            <a:solidFill>
              <a:srgbClr val="FFFFFF"/>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kern="0" dirty="0">
                <a:solidFill>
                  <a:sysClr val="windowText" lastClr="000000"/>
                </a:solidFill>
                <a:latin typeface="Segoe UI"/>
              </a:endParaRPr>
            </a:p>
          </p:txBody>
        </p:sp>
        <p:sp>
          <p:nvSpPr>
            <p:cNvPr id="117" name="Freeform 37"/>
            <p:cNvSpPr>
              <a:spLocks noEditPoints="1"/>
            </p:cNvSpPr>
            <p:nvPr/>
          </p:nvSpPr>
          <p:spPr bwMode="auto">
            <a:xfrm>
              <a:off x="8588655" y="3804585"/>
              <a:ext cx="2571750" cy="1693862"/>
            </a:xfrm>
            <a:custGeom>
              <a:avLst/>
              <a:gdLst>
                <a:gd name="T0" fmla="*/ 4706 w 4896"/>
                <a:gd name="T1" fmla="*/ 0 h 3227"/>
                <a:gd name="T2" fmla="*/ 0 w 4896"/>
                <a:gd name="T3" fmla="*/ 0 h 3227"/>
                <a:gd name="T4" fmla="*/ 0 w 4896"/>
                <a:gd name="T5" fmla="*/ 2923 h 3227"/>
                <a:gd name="T6" fmla="*/ 304 w 4896"/>
                <a:gd name="T7" fmla="*/ 3227 h 3227"/>
                <a:gd name="T8" fmla="*/ 4593 w 4896"/>
                <a:gd name="T9" fmla="*/ 3227 h 3227"/>
                <a:gd name="T10" fmla="*/ 4896 w 4896"/>
                <a:gd name="T11" fmla="*/ 2923 h 3227"/>
                <a:gd name="T12" fmla="*/ 4896 w 4896"/>
                <a:gd name="T13" fmla="*/ 279 h 3227"/>
                <a:gd name="T14" fmla="*/ 4706 w 4896"/>
                <a:gd name="T15" fmla="*/ 0 h 3227"/>
                <a:gd name="T16" fmla="*/ 3070 w 4896"/>
                <a:gd name="T17" fmla="*/ 1469 h 3227"/>
                <a:gd name="T18" fmla="*/ 2204 w 4896"/>
                <a:gd name="T19" fmla="*/ 2708 h 3227"/>
                <a:gd name="T20" fmla="*/ 2169 w 4896"/>
                <a:gd name="T21" fmla="*/ 2727 h 3227"/>
                <a:gd name="T22" fmla="*/ 2150 w 4896"/>
                <a:gd name="T23" fmla="*/ 2722 h 3227"/>
                <a:gd name="T24" fmla="*/ 2130 w 4896"/>
                <a:gd name="T25" fmla="*/ 2673 h 3227"/>
                <a:gd name="T26" fmla="*/ 2355 w 4896"/>
                <a:gd name="T27" fmla="*/ 1934 h 3227"/>
                <a:gd name="T28" fmla="*/ 1851 w 4896"/>
                <a:gd name="T29" fmla="*/ 1934 h 3227"/>
                <a:gd name="T30" fmla="*/ 1812 w 4896"/>
                <a:gd name="T31" fmla="*/ 1910 h 3227"/>
                <a:gd name="T32" fmla="*/ 1817 w 4896"/>
                <a:gd name="T33" fmla="*/ 1866 h 3227"/>
                <a:gd name="T34" fmla="*/ 2659 w 4896"/>
                <a:gd name="T35" fmla="*/ 642 h 3227"/>
                <a:gd name="T36" fmla="*/ 2693 w 4896"/>
                <a:gd name="T37" fmla="*/ 622 h 3227"/>
                <a:gd name="T38" fmla="*/ 2713 w 4896"/>
                <a:gd name="T39" fmla="*/ 627 h 3227"/>
                <a:gd name="T40" fmla="*/ 2732 w 4896"/>
                <a:gd name="T41" fmla="*/ 676 h 3227"/>
                <a:gd name="T42" fmla="*/ 2517 w 4896"/>
                <a:gd name="T43" fmla="*/ 1400 h 3227"/>
                <a:gd name="T44" fmla="*/ 3036 w 4896"/>
                <a:gd name="T45" fmla="*/ 1400 h 3227"/>
                <a:gd name="T46" fmla="*/ 3080 w 4896"/>
                <a:gd name="T47" fmla="*/ 1444 h 3227"/>
                <a:gd name="T48" fmla="*/ 3070 w 4896"/>
                <a:gd name="T49" fmla="*/ 1469 h 3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96" h="3227">
                  <a:moveTo>
                    <a:pt x="4706" y="0"/>
                  </a:moveTo>
                  <a:lnTo>
                    <a:pt x="0" y="0"/>
                  </a:lnTo>
                  <a:lnTo>
                    <a:pt x="0" y="2923"/>
                  </a:lnTo>
                  <a:cubicBezTo>
                    <a:pt x="0" y="3090"/>
                    <a:pt x="138" y="3227"/>
                    <a:pt x="304" y="3227"/>
                  </a:cubicBezTo>
                  <a:lnTo>
                    <a:pt x="4593" y="3227"/>
                  </a:lnTo>
                  <a:cubicBezTo>
                    <a:pt x="4759" y="3227"/>
                    <a:pt x="4896" y="3090"/>
                    <a:pt x="4896" y="2923"/>
                  </a:cubicBezTo>
                  <a:lnTo>
                    <a:pt x="4896" y="279"/>
                  </a:lnTo>
                  <a:cubicBezTo>
                    <a:pt x="4896" y="157"/>
                    <a:pt x="4818" y="49"/>
                    <a:pt x="4706" y="0"/>
                  </a:cubicBezTo>
                  <a:close/>
                  <a:moveTo>
                    <a:pt x="3070" y="1469"/>
                  </a:moveTo>
                  <a:lnTo>
                    <a:pt x="2204" y="2708"/>
                  </a:lnTo>
                  <a:cubicBezTo>
                    <a:pt x="2194" y="2717"/>
                    <a:pt x="2184" y="2727"/>
                    <a:pt x="2169" y="2727"/>
                  </a:cubicBezTo>
                  <a:cubicBezTo>
                    <a:pt x="2164" y="2727"/>
                    <a:pt x="2155" y="2727"/>
                    <a:pt x="2150" y="2722"/>
                  </a:cubicBezTo>
                  <a:cubicBezTo>
                    <a:pt x="2130" y="2713"/>
                    <a:pt x="2120" y="2693"/>
                    <a:pt x="2130" y="2673"/>
                  </a:cubicBezTo>
                  <a:lnTo>
                    <a:pt x="2355" y="1934"/>
                  </a:lnTo>
                  <a:lnTo>
                    <a:pt x="1851" y="1934"/>
                  </a:lnTo>
                  <a:cubicBezTo>
                    <a:pt x="1836" y="1934"/>
                    <a:pt x="1822" y="1924"/>
                    <a:pt x="1812" y="1910"/>
                  </a:cubicBezTo>
                  <a:cubicBezTo>
                    <a:pt x="1807" y="1895"/>
                    <a:pt x="1807" y="1880"/>
                    <a:pt x="1817" y="1866"/>
                  </a:cubicBezTo>
                  <a:lnTo>
                    <a:pt x="2659" y="642"/>
                  </a:lnTo>
                  <a:cubicBezTo>
                    <a:pt x="2669" y="632"/>
                    <a:pt x="2679" y="622"/>
                    <a:pt x="2693" y="622"/>
                  </a:cubicBezTo>
                  <a:cubicBezTo>
                    <a:pt x="2698" y="622"/>
                    <a:pt x="2703" y="622"/>
                    <a:pt x="2713" y="627"/>
                  </a:cubicBezTo>
                  <a:cubicBezTo>
                    <a:pt x="2732" y="637"/>
                    <a:pt x="2742" y="656"/>
                    <a:pt x="2732" y="676"/>
                  </a:cubicBezTo>
                  <a:lnTo>
                    <a:pt x="2517" y="1400"/>
                  </a:lnTo>
                  <a:lnTo>
                    <a:pt x="3036" y="1400"/>
                  </a:lnTo>
                  <a:cubicBezTo>
                    <a:pt x="3060" y="1400"/>
                    <a:pt x="3080" y="1420"/>
                    <a:pt x="3080" y="1444"/>
                  </a:cubicBezTo>
                  <a:cubicBezTo>
                    <a:pt x="3080" y="1454"/>
                    <a:pt x="3075" y="1459"/>
                    <a:pt x="3070" y="1469"/>
                  </a:cubicBezTo>
                  <a:close/>
                </a:path>
              </a:pathLst>
            </a:custGeom>
            <a:solidFill>
              <a:srgbClr val="FFFFFF"/>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kern="0" dirty="0">
                <a:solidFill>
                  <a:sysClr val="windowText" lastClr="000000"/>
                </a:solidFill>
                <a:latin typeface="Segoe UI"/>
              </a:endParaRPr>
            </a:p>
          </p:txBody>
        </p:sp>
      </p:grpSp>
      <p:sp>
        <p:nvSpPr>
          <p:cNvPr id="118" name="Title 1"/>
          <p:cNvSpPr txBox="1">
            <a:spLocks noGrp="1"/>
          </p:cNvSpPr>
          <p:nvPr>
            <p:ph type="title" idx="4294967295"/>
          </p:nvPr>
        </p:nvSpPr>
        <p:spPr>
          <a:xfrm>
            <a:off x="535366" y="188799"/>
            <a:ext cx="11656635"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dirty="0"/>
              <a:t>Intelligent solutions with Azure</a:t>
            </a:r>
          </a:p>
        </p:txBody>
      </p:sp>
      <p:sp>
        <p:nvSpPr>
          <p:cNvPr id="119" name="Rectangle 118"/>
          <p:cNvSpPr/>
          <p:nvPr/>
        </p:nvSpPr>
        <p:spPr>
          <a:xfrm>
            <a:off x="4520505" y="4045749"/>
            <a:ext cx="1270836" cy="429080"/>
          </a:xfrm>
          <a:prstGeom prst="rect">
            <a:avLst/>
          </a:prstGeom>
        </p:spPr>
        <p:txBody>
          <a:bodyPr wrap="square">
            <a:spAutoFit/>
          </a:bodyPr>
          <a:lstStyle/>
          <a:p>
            <a:pPr defTabSz="914225">
              <a:defRPr/>
            </a:pPr>
            <a:r>
              <a:rPr lang="en-US" sz="1100" kern="0" dirty="0">
                <a:solidFill>
                  <a:srgbClr val="FFFFFF"/>
                </a:solidFill>
                <a:latin typeface="Segoe UI"/>
                <a:cs typeface="Segoe UI Semilight" panose="020B0402040204020203" pitchFamily="34" charset="0"/>
              </a:rPr>
              <a:t>Azure SQL Database</a:t>
            </a:r>
          </a:p>
        </p:txBody>
      </p:sp>
      <p:grpSp>
        <p:nvGrpSpPr>
          <p:cNvPr id="120" name="Group 119"/>
          <p:cNvGrpSpPr/>
          <p:nvPr/>
        </p:nvGrpSpPr>
        <p:grpSpPr>
          <a:xfrm>
            <a:off x="4198846" y="4109156"/>
            <a:ext cx="248221" cy="304012"/>
            <a:chOff x="-3084513" y="3390510"/>
            <a:chExt cx="2716213" cy="3363913"/>
          </a:xfrm>
          <a:solidFill>
            <a:srgbClr val="FFFFFF"/>
          </a:solidFill>
        </p:grpSpPr>
        <p:sp>
          <p:nvSpPr>
            <p:cNvPr id="121"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latin typeface="Segoe UI"/>
              </a:endParaRPr>
            </a:p>
          </p:txBody>
        </p:sp>
        <p:sp>
          <p:nvSpPr>
            <p:cNvPr id="122"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latin typeface="Segoe UI"/>
              </a:endParaRPr>
            </a:p>
          </p:txBody>
        </p:sp>
      </p:grpSp>
    </p:spTree>
    <p:extLst>
      <p:ext uri="{BB962C8B-B14F-4D97-AF65-F5344CB8AC3E}">
        <p14:creationId xmlns:p14="http://schemas.microsoft.com/office/powerpoint/2010/main" val="1282237944"/>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0"/>
                                        </p:tgtEl>
                                        <p:attrNameLst>
                                          <p:attrName>style.visibility</p:attrName>
                                        </p:attrNameLst>
                                      </p:cBhvr>
                                      <p:to>
                                        <p:strVal val="visible"/>
                                      </p:to>
                                    </p:set>
                                    <p:animEffect transition="in" filter="fade">
                                      <p:cBhvr>
                                        <p:cTn id="7" dur="500"/>
                                        <p:tgtEl>
                                          <p:spTgt spid="90"/>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56"/>
                                        </p:tgtEl>
                                        <p:attrNameLst>
                                          <p:attrName>style.visibility</p:attrName>
                                        </p:attrNameLst>
                                      </p:cBhvr>
                                      <p:to>
                                        <p:strVal val="visible"/>
                                      </p:to>
                                    </p:set>
                                    <p:animEffect transition="in" filter="fade">
                                      <p:cBhvr>
                                        <p:cTn id="11" dur="500"/>
                                        <p:tgtEl>
                                          <p:spTgt spid="56"/>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31"/>
                                        </p:tgtEl>
                                        <p:attrNameLst>
                                          <p:attrName>style.visibility</p:attrName>
                                        </p:attrNameLst>
                                      </p:cBhvr>
                                      <p:to>
                                        <p:strVal val="visible"/>
                                      </p:to>
                                    </p:set>
                                    <p:animEffect transition="in" filter="fade">
                                      <p:cBhvr>
                                        <p:cTn id="15" dur="500"/>
                                        <p:tgtEl>
                                          <p:spTgt spid="31"/>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4"/>
                                        </p:tgtEl>
                                        <p:attrNameLst>
                                          <p:attrName>style.visibility</p:attrName>
                                        </p:attrNameLst>
                                      </p:cBhvr>
                                      <p:to>
                                        <p:strVal val="visible"/>
                                      </p:to>
                                    </p:set>
                                    <p:animEffect transition="in" filter="fade">
                                      <p:cBhvr>
                                        <p:cTn id="19"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l="53083" t="18192" r="19041" b="8733"/>
          <a:stretch/>
        </p:blipFill>
        <p:spPr bwMode="auto">
          <a:xfrm>
            <a:off x="0" y="0"/>
            <a:ext cx="4650854"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bwMode="auto">
          <a:xfrm>
            <a:off x="405006" y="2441966"/>
            <a:ext cx="4031450" cy="2233915"/>
          </a:xfrm>
          <a:prstGeom prst="rect">
            <a:avLst/>
          </a:prstGeom>
          <a:solidFill>
            <a:srgbClr val="FFFFFF">
              <a:alpha val="83137"/>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738258" y="2577104"/>
            <a:ext cx="4577392" cy="4280896"/>
          </a:xfrm>
        </p:spPr>
        <p:txBody>
          <a:bodyPr/>
          <a:lstStyle/>
          <a:p>
            <a:pPr algn="r"/>
            <a:r>
              <a:rPr lang="en-US" dirty="0">
                <a:solidFill>
                  <a:srgbClr val="0070C0"/>
                </a:solidFill>
              </a:rPr>
              <a:t>Solution Benefits</a:t>
            </a:r>
          </a:p>
        </p:txBody>
      </p:sp>
      <p:sp>
        <p:nvSpPr>
          <p:cNvPr id="4" name="Text Placeholder 14"/>
          <p:cNvSpPr txBox="1">
            <a:spLocks/>
          </p:cNvSpPr>
          <p:nvPr/>
        </p:nvSpPr>
        <p:spPr>
          <a:xfrm>
            <a:off x="4988560" y="0"/>
            <a:ext cx="6969760" cy="6858000"/>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spcAft>
                <a:spcPts val="600"/>
              </a:spcAft>
            </a:pPr>
            <a:endParaRPr lang="en-US" sz="1400" dirty="0">
              <a:latin typeface="Segoe UI"/>
            </a:endParaRPr>
          </a:p>
        </p:txBody>
      </p:sp>
      <p:sp>
        <p:nvSpPr>
          <p:cNvPr id="5" name="Rectangle 4">
            <a:extLst>
              <a:ext uri="{FF2B5EF4-FFF2-40B4-BE49-F238E27FC236}">
                <a16:creationId xmlns:a16="http://schemas.microsoft.com/office/drawing/2014/main" id="{94AC5B15-4C1C-46D9-A01B-0C978F4ED57A}"/>
              </a:ext>
            </a:extLst>
          </p:cNvPr>
          <p:cNvSpPr/>
          <p:nvPr/>
        </p:nvSpPr>
        <p:spPr>
          <a:xfrm>
            <a:off x="4988560" y="925467"/>
            <a:ext cx="6096000" cy="4832092"/>
          </a:xfrm>
          <a:prstGeom prst="rect">
            <a:avLst/>
          </a:prstGeom>
        </p:spPr>
        <p:txBody>
          <a:bodyPr>
            <a:spAutoFit/>
          </a:bodyPr>
          <a:lstStyle/>
          <a:p>
            <a:pPr marL="342900" marR="0" lvl="0" indent="-342900">
              <a:spcBef>
                <a:spcPts val="300"/>
              </a:spcBef>
              <a:spcAft>
                <a:spcPts val="0"/>
              </a:spcAft>
              <a:buFont typeface="Symbol" panose="05050102010706020507" pitchFamily="18" charset="2"/>
              <a:buChar char=""/>
            </a:pPr>
            <a:r>
              <a:rPr lang="en-US" sz="1400" b="1" dirty="0">
                <a:solidFill>
                  <a:srgbClr val="505050"/>
                </a:solidFill>
                <a:latin typeface="Segoe UI" panose="020B0502040204020203" pitchFamily="34" charset="0"/>
                <a:ea typeface="Times New Roman" panose="02020603050405020304" pitchFamily="18" charset="0"/>
              </a:rPr>
              <a:t>Faster student performance prediction with proactive collection and mining of data </a:t>
            </a:r>
            <a:r>
              <a:rPr lang="en-US" sz="1400" dirty="0">
                <a:solidFill>
                  <a:srgbClr val="505050"/>
                </a:solidFill>
                <a:latin typeface="Segoe UI" panose="020B0502040204020203" pitchFamily="34" charset="0"/>
                <a:ea typeface="Times New Roman" panose="02020603050405020304" pitchFamily="18" charset="0"/>
              </a:rPr>
              <a:t>that can alert instructors and parents in real-time about a student’s performance, enabling proactive feedback and faster interventions for at-risk students.</a:t>
            </a:r>
          </a:p>
          <a:p>
            <a:pPr marL="342900" marR="0" lvl="0" indent="-342900">
              <a:spcBef>
                <a:spcPts val="0"/>
              </a:spcBef>
              <a:spcAft>
                <a:spcPts val="0"/>
              </a:spcAft>
              <a:buFont typeface="Symbol" panose="05050102010706020507" pitchFamily="18" charset="2"/>
              <a:buChar char=""/>
            </a:pPr>
            <a:r>
              <a:rPr lang="en-US" sz="1400" b="1" dirty="0">
                <a:solidFill>
                  <a:srgbClr val="505050"/>
                </a:solidFill>
                <a:latin typeface="Segoe UI" panose="020B0502040204020203" pitchFamily="34" charset="0"/>
                <a:ea typeface="Times New Roman" panose="02020603050405020304" pitchFamily="18" charset="0"/>
              </a:rPr>
              <a:t>Free your data from its silos </a:t>
            </a:r>
            <a:r>
              <a:rPr lang="en-US" sz="1400" dirty="0">
                <a:solidFill>
                  <a:srgbClr val="505050"/>
                </a:solidFill>
                <a:latin typeface="Segoe UI" panose="020B0502040204020203" pitchFamily="34" charset="0"/>
                <a:ea typeface="Times New Roman" panose="02020603050405020304" pitchFamily="18" charset="0"/>
              </a:rPr>
              <a:t>using a cross-platform and open source friendly hybrid solution. The Cortana Intelligence Suite harnesses machine learning, intelligence, and the cloud for predictive analytics on student performance with large amounts of structured and unstructured data from different sources.</a:t>
            </a:r>
          </a:p>
          <a:p>
            <a:pPr marL="342900" marR="0" lvl="0" indent="-342900">
              <a:spcBef>
                <a:spcPts val="0"/>
              </a:spcBef>
              <a:spcAft>
                <a:spcPts val="0"/>
              </a:spcAft>
              <a:buFont typeface="Symbol" panose="05050102010706020507" pitchFamily="18" charset="2"/>
              <a:buChar char=""/>
            </a:pPr>
            <a:r>
              <a:rPr lang="en-US" sz="1400" b="1" dirty="0">
                <a:solidFill>
                  <a:srgbClr val="505050"/>
                </a:solidFill>
                <a:latin typeface="Segoe UI" panose="020B0502040204020203" pitchFamily="34" charset="0"/>
                <a:ea typeface="Times New Roman" panose="02020603050405020304" pitchFamily="18" charset="0"/>
              </a:rPr>
              <a:t>Quickly deploy data platform and analytics services while only paying for what you need</a:t>
            </a:r>
            <a:r>
              <a:rPr lang="en-US" sz="1400" dirty="0">
                <a:solidFill>
                  <a:srgbClr val="505050"/>
                </a:solidFill>
                <a:latin typeface="Segoe UI" panose="020B0502040204020203" pitchFamily="34" charset="0"/>
                <a:ea typeface="Times New Roman" panose="02020603050405020304" pitchFamily="18" charset="0"/>
              </a:rPr>
              <a:t> with Azure’s infrastructure and data platform services and the Cortana Intelligence Suite.</a:t>
            </a:r>
          </a:p>
          <a:p>
            <a:pPr marL="342900" marR="0" lvl="0" indent="-342900">
              <a:spcBef>
                <a:spcPts val="0"/>
              </a:spcBef>
              <a:spcAft>
                <a:spcPts val="0"/>
              </a:spcAft>
              <a:buFont typeface="Symbol" panose="05050102010706020507" pitchFamily="18" charset="2"/>
              <a:buChar char=""/>
            </a:pPr>
            <a:r>
              <a:rPr lang="en-US" sz="1400" b="1" dirty="0">
                <a:solidFill>
                  <a:srgbClr val="505050"/>
                </a:solidFill>
                <a:latin typeface="Segoe UI" panose="020B0502040204020203" pitchFamily="34" charset="0"/>
                <a:ea typeface="Times New Roman" panose="02020603050405020304" pitchFamily="18" charset="0"/>
              </a:rPr>
              <a:t>Enable easy access to data for teachers and administrators from anywhere</a:t>
            </a:r>
            <a:r>
              <a:rPr lang="en-US" sz="1400" dirty="0">
                <a:solidFill>
                  <a:srgbClr val="505050"/>
                </a:solidFill>
                <a:latin typeface="Segoe UI" panose="020B0502040204020203" pitchFamily="34" charset="0"/>
                <a:ea typeface="Times New Roman" panose="02020603050405020304" pitchFamily="18" charset="0"/>
              </a:rPr>
              <a:t> with rich visualizations using Power BI.</a:t>
            </a:r>
          </a:p>
          <a:p>
            <a:pPr marL="342900" marR="0" lvl="0" indent="-342900">
              <a:spcBef>
                <a:spcPts val="0"/>
              </a:spcBef>
              <a:spcAft>
                <a:spcPts val="300"/>
              </a:spcAft>
              <a:buFont typeface="Symbol" panose="05050102010706020507" pitchFamily="18" charset="2"/>
              <a:buChar char=""/>
            </a:pPr>
            <a:r>
              <a:rPr lang="en-US" sz="1400" b="1" dirty="0">
                <a:solidFill>
                  <a:srgbClr val="505050"/>
                </a:solidFill>
                <a:latin typeface="Segoe UI" panose="020B0502040204020203" pitchFamily="34" charset="0"/>
                <a:ea typeface="Times New Roman" panose="02020603050405020304" pitchFamily="18" charset="0"/>
              </a:rPr>
              <a:t>Protect student data with best-in-class security</a:t>
            </a:r>
            <a:r>
              <a:rPr lang="en-US" sz="1400" dirty="0">
                <a:solidFill>
                  <a:srgbClr val="505050"/>
                </a:solidFill>
                <a:latin typeface="Segoe UI" panose="020B0502040204020203" pitchFamily="34" charset="0"/>
                <a:ea typeface="Times New Roman" panose="02020603050405020304" pitchFamily="18" charset="0"/>
              </a:rPr>
              <a:t> across the Azure platform enables protection of student data, including encryption in-transit and at-rest, role-based access control for data access and reporting, and row-level security to ensure that users can’t access data they shouldn’t.</a:t>
            </a:r>
            <a:br>
              <a:rPr lang="en-US" sz="1400" dirty="0">
                <a:solidFill>
                  <a:srgbClr val="505050"/>
                </a:solidFill>
                <a:latin typeface="Segoe UI" panose="020B0502040204020203" pitchFamily="34" charset="0"/>
                <a:ea typeface="Times New Roman" panose="02020603050405020304" pitchFamily="18" charset="0"/>
              </a:rPr>
            </a:br>
            <a:br>
              <a:rPr lang="en-US" sz="1400" dirty="0">
                <a:solidFill>
                  <a:srgbClr val="505050"/>
                </a:solidFill>
                <a:latin typeface="Segoe UI" panose="020B0502040204020203" pitchFamily="34" charset="0"/>
                <a:ea typeface="Times New Roman" panose="02020603050405020304" pitchFamily="18" charset="0"/>
              </a:rPr>
            </a:br>
            <a:r>
              <a:rPr lang="en-US" sz="1400" dirty="0">
                <a:solidFill>
                  <a:srgbClr val="505050"/>
                </a:solidFill>
                <a:latin typeface="Segoe UI" panose="020B0502040204020203" pitchFamily="34" charset="0"/>
                <a:ea typeface="Times New Roman" panose="02020603050405020304" pitchFamily="18" charset="0"/>
              </a:rPr>
              <a:t>(For EU customers): Azure provides capabilities for customers and partners to ensure that data is handled in compliance with </a:t>
            </a:r>
            <a:r>
              <a:rPr lang="en-US" sz="1400" u="sng" dirty="0">
                <a:solidFill>
                  <a:srgbClr val="505050"/>
                </a:solidFill>
                <a:latin typeface="Segoe UI" panose="020B0502040204020203" pitchFamily="34" charset="0"/>
                <a:ea typeface="Times New Roman" panose="02020603050405020304" pitchFamily="18" charset="0"/>
                <a:hlinkClick r:id="rId4"/>
              </a:rPr>
              <a:t>GDPR</a:t>
            </a:r>
            <a:r>
              <a:rPr lang="en-US" sz="1400" dirty="0">
                <a:solidFill>
                  <a:srgbClr val="505050"/>
                </a:solidFill>
                <a:latin typeface="Segoe UI" panose="020B0502040204020203" pitchFamily="34" charset="0"/>
                <a:ea typeface="Times New Roman" panose="02020603050405020304" pitchFamily="18" charset="0"/>
              </a:rPr>
              <a:t>.</a:t>
            </a:r>
          </a:p>
        </p:txBody>
      </p:sp>
    </p:spTree>
    <p:extLst>
      <p:ext uri="{BB962C8B-B14F-4D97-AF65-F5344CB8AC3E}">
        <p14:creationId xmlns:p14="http://schemas.microsoft.com/office/powerpoint/2010/main" val="585432519"/>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00B0F0"/>
        </a:solidFill>
        <a:effectLst/>
      </p:bgPr>
    </p:bg>
    <p:spTree>
      <p:nvGrpSpPr>
        <p:cNvPr id="1" name=""/>
        <p:cNvGrpSpPr/>
        <p:nvPr/>
      </p:nvGrpSpPr>
      <p:grpSpPr>
        <a:xfrm>
          <a:off x="0" y="0"/>
          <a:ext cx="0" cy="0"/>
          <a:chOff x="0" y="0"/>
          <a:chExt cx="0" cy="0"/>
        </a:xfrm>
      </p:grpSpPr>
      <p:sp>
        <p:nvSpPr>
          <p:cNvPr id="139" name="Rectangle 138">
            <a:extLst>
              <a:ext uri="{FF2B5EF4-FFF2-40B4-BE49-F238E27FC236}">
                <a16:creationId xmlns:a16="http://schemas.microsoft.com/office/drawing/2014/main" id="{F6C5FCAC-A6F8-49D9-8428-18921966C824}"/>
              </a:ext>
            </a:extLst>
          </p:cNvPr>
          <p:cNvSpPr/>
          <p:nvPr/>
        </p:nvSpPr>
        <p:spPr>
          <a:xfrm>
            <a:off x="4265180" y="1969053"/>
            <a:ext cx="5430750" cy="4493630"/>
          </a:xfrm>
          <a:prstGeom prst="rect">
            <a:avLst/>
          </a:prstGeom>
          <a:solidFill>
            <a:srgbClr val="0070C0">
              <a:alpha val="47000"/>
            </a:srgbClr>
          </a:solidFill>
          <a:ln w="12700">
            <a:solidFill>
              <a:srgbClr val="35BDE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r>
              <a:rPr lang="en-IN" sz="1836" kern="0" dirty="0">
                <a:solidFill>
                  <a:sysClr val="windowText" lastClr="000000"/>
                </a:solidFill>
              </a:rPr>
              <a:t>                                        </a:t>
            </a:r>
          </a:p>
        </p:txBody>
      </p:sp>
      <p:pic>
        <p:nvPicPr>
          <p:cNvPr id="180" name="Picture 179">
            <a:extLst>
              <a:ext uri="{FF2B5EF4-FFF2-40B4-BE49-F238E27FC236}">
                <a16:creationId xmlns:a16="http://schemas.microsoft.com/office/drawing/2014/main" id="{05A9FFAE-E143-4746-9795-28C5932895AD}"/>
              </a:ext>
            </a:extLst>
          </p:cNvPr>
          <p:cNvPicPr>
            <a:picLocks noChangeAspect="1"/>
          </p:cNvPicPr>
          <p:nvPr/>
        </p:nvPicPr>
        <p:blipFill>
          <a:blip r:embed="rId3"/>
          <a:stretch>
            <a:fillRect/>
          </a:stretch>
        </p:blipFill>
        <p:spPr>
          <a:xfrm>
            <a:off x="5115675" y="2284784"/>
            <a:ext cx="1056359" cy="631930"/>
          </a:xfrm>
          <a:prstGeom prst="rect">
            <a:avLst/>
          </a:prstGeom>
        </p:spPr>
      </p:pic>
      <p:pic>
        <p:nvPicPr>
          <p:cNvPr id="181" name="Picture 180">
            <a:extLst>
              <a:ext uri="{FF2B5EF4-FFF2-40B4-BE49-F238E27FC236}">
                <a16:creationId xmlns:a16="http://schemas.microsoft.com/office/drawing/2014/main" id="{E8944B25-373A-47AF-93F7-E9BF4DAB3F2C}"/>
              </a:ext>
            </a:extLst>
          </p:cNvPr>
          <p:cNvPicPr>
            <a:picLocks noChangeAspect="1"/>
          </p:cNvPicPr>
          <p:nvPr/>
        </p:nvPicPr>
        <p:blipFill>
          <a:blip r:embed="rId3"/>
          <a:stretch>
            <a:fillRect/>
          </a:stretch>
        </p:blipFill>
        <p:spPr>
          <a:xfrm>
            <a:off x="4980627" y="2724417"/>
            <a:ext cx="602433" cy="360384"/>
          </a:xfrm>
          <a:prstGeom prst="rect">
            <a:avLst/>
          </a:prstGeom>
          <a:effectLst>
            <a:outerShdw dist="25400" dir="17460000" algn="ctr" rotWithShape="0">
              <a:srgbClr val="00B0F0"/>
            </a:outerShdw>
          </a:effectLst>
        </p:spPr>
      </p:pic>
      <p:sp>
        <p:nvSpPr>
          <p:cNvPr id="2" name="Title 1"/>
          <p:cNvSpPr>
            <a:spLocks noGrp="1"/>
          </p:cNvSpPr>
          <p:nvPr>
            <p:ph type="title"/>
          </p:nvPr>
        </p:nvSpPr>
        <p:spPr>
          <a:xfrm>
            <a:off x="605214" y="487"/>
            <a:ext cx="10747842" cy="1208696"/>
          </a:xfrm>
        </p:spPr>
        <p:txBody>
          <a:bodyPr/>
          <a:lstStyle/>
          <a:p>
            <a:r>
              <a:rPr lang="en-US" dirty="0">
                <a:solidFill>
                  <a:schemeClr val="bg1"/>
                </a:solidFill>
              </a:rPr>
              <a:t>Reference Architecture</a:t>
            </a:r>
            <a:endParaRPr lang="en-IN" dirty="0">
              <a:solidFill>
                <a:schemeClr val="bg1"/>
              </a:solidFill>
            </a:endParaRPr>
          </a:p>
        </p:txBody>
      </p:sp>
      <p:sp>
        <p:nvSpPr>
          <p:cNvPr id="80" name="Title 1">
            <a:extLst>
              <a:ext uri="{FF2B5EF4-FFF2-40B4-BE49-F238E27FC236}">
                <a16:creationId xmlns:a16="http://schemas.microsoft.com/office/drawing/2014/main" id="{7F21C2CE-D046-4039-8C91-B2B818F52816}"/>
              </a:ext>
            </a:extLst>
          </p:cNvPr>
          <p:cNvSpPr txBox="1">
            <a:spLocks/>
          </p:cNvSpPr>
          <p:nvPr/>
        </p:nvSpPr>
        <p:spPr>
          <a:xfrm>
            <a:off x="535366" y="188799"/>
            <a:ext cx="11656635"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endParaRPr lang="en-US" sz="4705" dirty="0"/>
          </a:p>
        </p:txBody>
      </p:sp>
      <p:sp>
        <p:nvSpPr>
          <p:cNvPr id="81" name="TextBox 80">
            <a:extLst>
              <a:ext uri="{FF2B5EF4-FFF2-40B4-BE49-F238E27FC236}">
                <a16:creationId xmlns:a16="http://schemas.microsoft.com/office/drawing/2014/main" id="{7A42B28A-03D9-4BC5-967E-E4487A30867E}"/>
              </a:ext>
            </a:extLst>
          </p:cNvPr>
          <p:cNvSpPr txBox="1"/>
          <p:nvPr/>
        </p:nvSpPr>
        <p:spPr>
          <a:xfrm rot="16200000">
            <a:off x="985297" y="4220401"/>
            <a:ext cx="4872027" cy="369332"/>
          </a:xfrm>
          <a:prstGeom prst="rect">
            <a:avLst/>
          </a:prstGeom>
          <a:noFill/>
        </p:spPr>
        <p:txBody>
          <a:bodyPr wrap="square" rtlCol="0">
            <a:spAutoFit/>
          </a:bodyPr>
          <a:lstStyle/>
          <a:p>
            <a:pPr algn="ctr" defTabSz="932597"/>
            <a:r>
              <a:rPr lang="en-US" kern="0" dirty="0">
                <a:solidFill>
                  <a:schemeClr val="bg1"/>
                </a:solidFill>
                <a:latin typeface="+mj-lt"/>
              </a:rPr>
              <a:t>Data Management Gateway</a:t>
            </a:r>
          </a:p>
        </p:txBody>
      </p:sp>
      <p:sp>
        <p:nvSpPr>
          <p:cNvPr id="82" name="TextBox 81">
            <a:extLst>
              <a:ext uri="{FF2B5EF4-FFF2-40B4-BE49-F238E27FC236}">
                <a16:creationId xmlns:a16="http://schemas.microsoft.com/office/drawing/2014/main" id="{08079100-F3FF-4245-AA72-603E85FA49E2}"/>
              </a:ext>
            </a:extLst>
          </p:cNvPr>
          <p:cNvSpPr txBox="1"/>
          <p:nvPr/>
        </p:nvSpPr>
        <p:spPr>
          <a:xfrm>
            <a:off x="796530" y="2133361"/>
            <a:ext cx="2059878" cy="400110"/>
          </a:xfrm>
          <a:prstGeom prst="rect">
            <a:avLst/>
          </a:prstGeom>
          <a:noFill/>
        </p:spPr>
        <p:txBody>
          <a:bodyPr wrap="square" rtlCol="0">
            <a:spAutoFit/>
          </a:bodyPr>
          <a:lstStyle/>
          <a:p>
            <a:pPr defTabSz="932597"/>
            <a:r>
              <a:rPr lang="en-IN" sz="2000" kern="0" dirty="0">
                <a:solidFill>
                  <a:schemeClr val="bg1"/>
                </a:solidFill>
              </a:rPr>
              <a:t>On-Premises</a:t>
            </a:r>
          </a:p>
        </p:txBody>
      </p:sp>
      <p:sp>
        <p:nvSpPr>
          <p:cNvPr id="83" name="Freeform 29">
            <a:extLst>
              <a:ext uri="{FF2B5EF4-FFF2-40B4-BE49-F238E27FC236}">
                <a16:creationId xmlns:a16="http://schemas.microsoft.com/office/drawing/2014/main" id="{FD714D21-AA53-4328-BCE6-F8CAB328BDB9}"/>
              </a:ext>
            </a:extLst>
          </p:cNvPr>
          <p:cNvSpPr>
            <a:spLocks noChangeAspect="1" noEditPoints="1"/>
          </p:cNvSpPr>
          <p:nvPr/>
        </p:nvSpPr>
        <p:spPr bwMode="auto">
          <a:xfrm>
            <a:off x="1339399" y="1444917"/>
            <a:ext cx="615424" cy="669596"/>
          </a:xfrm>
          <a:custGeom>
            <a:avLst/>
            <a:gdLst>
              <a:gd name="T0" fmla="*/ 39 w 284"/>
              <a:gd name="T1" fmla="*/ 116 h 309"/>
              <a:gd name="T2" fmla="*/ 59 w 284"/>
              <a:gd name="T3" fmla="*/ 96 h 309"/>
              <a:gd name="T4" fmla="*/ 97 w 284"/>
              <a:gd name="T5" fmla="*/ 116 h 309"/>
              <a:gd name="T6" fmla="*/ 117 w 284"/>
              <a:gd name="T7" fmla="*/ 96 h 309"/>
              <a:gd name="T8" fmla="*/ 97 w 284"/>
              <a:gd name="T9" fmla="*/ 116 h 309"/>
              <a:gd name="T10" fmla="*/ 39 w 284"/>
              <a:gd name="T11" fmla="*/ 154 h 309"/>
              <a:gd name="T12" fmla="*/ 59 w 284"/>
              <a:gd name="T13" fmla="*/ 174 h 309"/>
              <a:gd name="T14" fmla="*/ 97 w 284"/>
              <a:gd name="T15" fmla="*/ 174 h 309"/>
              <a:gd name="T16" fmla="*/ 117 w 284"/>
              <a:gd name="T17" fmla="*/ 154 h 309"/>
              <a:gd name="T18" fmla="*/ 97 w 284"/>
              <a:gd name="T19" fmla="*/ 174 h 309"/>
              <a:gd name="T20" fmla="*/ 39 w 284"/>
              <a:gd name="T21" fmla="*/ 39 h 309"/>
              <a:gd name="T22" fmla="*/ 59 w 284"/>
              <a:gd name="T23" fmla="*/ 58 h 309"/>
              <a:gd name="T24" fmla="*/ 97 w 284"/>
              <a:gd name="T25" fmla="*/ 58 h 309"/>
              <a:gd name="T26" fmla="*/ 117 w 284"/>
              <a:gd name="T27" fmla="*/ 39 h 309"/>
              <a:gd name="T28" fmla="*/ 97 w 284"/>
              <a:gd name="T29" fmla="*/ 58 h 309"/>
              <a:gd name="T30" fmla="*/ 175 w 284"/>
              <a:gd name="T31" fmla="*/ 58 h 309"/>
              <a:gd name="T32" fmla="*/ 156 w 284"/>
              <a:gd name="T33" fmla="*/ 39 h 309"/>
              <a:gd name="T34" fmla="*/ 59 w 284"/>
              <a:gd name="T35" fmla="*/ 212 h 309"/>
              <a:gd name="T36" fmla="*/ 39 w 284"/>
              <a:gd name="T37" fmla="*/ 231 h 309"/>
              <a:gd name="T38" fmla="*/ 59 w 284"/>
              <a:gd name="T39" fmla="*/ 212 h 309"/>
              <a:gd name="T40" fmla="*/ 117 w 284"/>
              <a:gd name="T41" fmla="*/ 231 h 309"/>
              <a:gd name="T42" fmla="*/ 97 w 284"/>
              <a:gd name="T43" fmla="*/ 212 h 309"/>
              <a:gd name="T44" fmla="*/ 284 w 284"/>
              <a:gd name="T45" fmla="*/ 96 h 309"/>
              <a:gd name="T46" fmla="*/ 214 w 284"/>
              <a:gd name="T47" fmla="*/ 309 h 309"/>
              <a:gd name="T48" fmla="*/ 0 w 284"/>
              <a:gd name="T49" fmla="*/ 309 h 309"/>
              <a:gd name="T50" fmla="*/ 214 w 284"/>
              <a:gd name="T51" fmla="*/ 0 h 309"/>
              <a:gd name="T52" fmla="*/ 284 w 284"/>
              <a:gd name="T53" fmla="*/ 96 h 309"/>
              <a:gd name="T54" fmla="*/ 148 w 284"/>
              <a:gd name="T55" fmla="*/ 96 h 309"/>
              <a:gd name="T56" fmla="*/ 195 w 284"/>
              <a:gd name="T57" fmla="*/ 19 h 309"/>
              <a:gd name="T58" fmla="*/ 20 w 284"/>
              <a:gd name="T59" fmla="*/ 289 h 309"/>
              <a:gd name="T60" fmla="*/ 267 w 284"/>
              <a:gd name="T61" fmla="*/ 113 h 309"/>
              <a:gd name="T62" fmla="*/ 165 w 284"/>
              <a:gd name="T63" fmla="*/ 292 h 309"/>
              <a:gd name="T64" fmla="*/ 267 w 284"/>
              <a:gd name="T65" fmla="*/ 113 h 309"/>
              <a:gd name="T66" fmla="*/ 182 w 284"/>
              <a:gd name="T67" fmla="*/ 178 h 309"/>
              <a:gd name="T68" fmla="*/ 199 w 284"/>
              <a:gd name="T69" fmla="*/ 195 h 309"/>
              <a:gd name="T70" fmla="*/ 248 w 284"/>
              <a:gd name="T71" fmla="*/ 178 h 309"/>
              <a:gd name="T72" fmla="*/ 233 w 284"/>
              <a:gd name="T73" fmla="*/ 195 h 309"/>
              <a:gd name="T74" fmla="*/ 248 w 284"/>
              <a:gd name="T75" fmla="*/ 178 h 309"/>
              <a:gd name="T76" fmla="*/ 182 w 284"/>
              <a:gd name="T77" fmla="*/ 227 h 309"/>
              <a:gd name="T78" fmla="*/ 199 w 284"/>
              <a:gd name="T79" fmla="*/ 244 h 309"/>
              <a:gd name="T80" fmla="*/ 248 w 284"/>
              <a:gd name="T81" fmla="*/ 227 h 309"/>
              <a:gd name="T82" fmla="*/ 233 w 284"/>
              <a:gd name="T83" fmla="*/ 244 h 309"/>
              <a:gd name="T84" fmla="*/ 248 w 284"/>
              <a:gd name="T85" fmla="*/ 227 h 309"/>
              <a:gd name="T86" fmla="*/ 182 w 284"/>
              <a:gd name="T87" fmla="*/ 128 h 309"/>
              <a:gd name="T88" fmla="*/ 199 w 284"/>
              <a:gd name="T89" fmla="*/ 145 h 309"/>
              <a:gd name="T90" fmla="*/ 248 w 284"/>
              <a:gd name="T91" fmla="*/ 128 h 309"/>
              <a:gd name="T92" fmla="*/ 233 w 284"/>
              <a:gd name="T93" fmla="*/ 145 h 309"/>
              <a:gd name="T94" fmla="*/ 248 w 284"/>
              <a:gd name="T95" fmla="*/ 128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4" h="309">
                <a:moveTo>
                  <a:pt x="59" y="116"/>
                </a:moveTo>
                <a:lnTo>
                  <a:pt x="39" y="116"/>
                </a:lnTo>
                <a:lnTo>
                  <a:pt x="39" y="96"/>
                </a:lnTo>
                <a:lnTo>
                  <a:pt x="59" y="96"/>
                </a:lnTo>
                <a:lnTo>
                  <a:pt x="59" y="116"/>
                </a:lnTo>
                <a:close/>
                <a:moveTo>
                  <a:pt x="97" y="116"/>
                </a:moveTo>
                <a:lnTo>
                  <a:pt x="117" y="116"/>
                </a:lnTo>
                <a:lnTo>
                  <a:pt x="117" y="96"/>
                </a:lnTo>
                <a:lnTo>
                  <a:pt x="97" y="96"/>
                </a:lnTo>
                <a:lnTo>
                  <a:pt x="97" y="116"/>
                </a:lnTo>
                <a:close/>
                <a:moveTo>
                  <a:pt x="59" y="154"/>
                </a:moveTo>
                <a:lnTo>
                  <a:pt x="39" y="154"/>
                </a:lnTo>
                <a:lnTo>
                  <a:pt x="39" y="174"/>
                </a:lnTo>
                <a:lnTo>
                  <a:pt x="59" y="174"/>
                </a:lnTo>
                <a:lnTo>
                  <a:pt x="59" y="154"/>
                </a:lnTo>
                <a:close/>
                <a:moveTo>
                  <a:pt x="97" y="174"/>
                </a:moveTo>
                <a:lnTo>
                  <a:pt x="117" y="174"/>
                </a:lnTo>
                <a:lnTo>
                  <a:pt x="117" y="154"/>
                </a:lnTo>
                <a:lnTo>
                  <a:pt x="97" y="154"/>
                </a:lnTo>
                <a:lnTo>
                  <a:pt x="97" y="174"/>
                </a:lnTo>
                <a:close/>
                <a:moveTo>
                  <a:pt x="59" y="39"/>
                </a:moveTo>
                <a:lnTo>
                  <a:pt x="39" y="39"/>
                </a:lnTo>
                <a:lnTo>
                  <a:pt x="39" y="58"/>
                </a:lnTo>
                <a:lnTo>
                  <a:pt x="59" y="58"/>
                </a:lnTo>
                <a:lnTo>
                  <a:pt x="59" y="39"/>
                </a:lnTo>
                <a:close/>
                <a:moveTo>
                  <a:pt x="97" y="58"/>
                </a:moveTo>
                <a:lnTo>
                  <a:pt x="117" y="58"/>
                </a:lnTo>
                <a:lnTo>
                  <a:pt x="117" y="39"/>
                </a:lnTo>
                <a:lnTo>
                  <a:pt x="97" y="39"/>
                </a:lnTo>
                <a:lnTo>
                  <a:pt x="97" y="58"/>
                </a:lnTo>
                <a:close/>
                <a:moveTo>
                  <a:pt x="156" y="58"/>
                </a:moveTo>
                <a:lnTo>
                  <a:pt x="175" y="58"/>
                </a:lnTo>
                <a:lnTo>
                  <a:pt x="175" y="39"/>
                </a:lnTo>
                <a:lnTo>
                  <a:pt x="156" y="39"/>
                </a:lnTo>
                <a:lnTo>
                  <a:pt x="156" y="58"/>
                </a:lnTo>
                <a:close/>
                <a:moveTo>
                  <a:pt x="59" y="212"/>
                </a:moveTo>
                <a:lnTo>
                  <a:pt x="39" y="212"/>
                </a:lnTo>
                <a:lnTo>
                  <a:pt x="39" y="231"/>
                </a:lnTo>
                <a:lnTo>
                  <a:pt x="59" y="231"/>
                </a:lnTo>
                <a:lnTo>
                  <a:pt x="59" y="212"/>
                </a:lnTo>
                <a:close/>
                <a:moveTo>
                  <a:pt x="97" y="231"/>
                </a:moveTo>
                <a:lnTo>
                  <a:pt x="117" y="231"/>
                </a:lnTo>
                <a:lnTo>
                  <a:pt x="117" y="212"/>
                </a:lnTo>
                <a:lnTo>
                  <a:pt x="97" y="212"/>
                </a:lnTo>
                <a:lnTo>
                  <a:pt x="97" y="231"/>
                </a:lnTo>
                <a:close/>
                <a:moveTo>
                  <a:pt x="284" y="96"/>
                </a:moveTo>
                <a:lnTo>
                  <a:pt x="284" y="309"/>
                </a:lnTo>
                <a:lnTo>
                  <a:pt x="214" y="309"/>
                </a:lnTo>
                <a:lnTo>
                  <a:pt x="148" y="309"/>
                </a:lnTo>
                <a:lnTo>
                  <a:pt x="0" y="309"/>
                </a:lnTo>
                <a:lnTo>
                  <a:pt x="0" y="0"/>
                </a:lnTo>
                <a:lnTo>
                  <a:pt x="214" y="0"/>
                </a:lnTo>
                <a:lnTo>
                  <a:pt x="214" y="96"/>
                </a:lnTo>
                <a:lnTo>
                  <a:pt x="284" y="96"/>
                </a:lnTo>
                <a:close/>
                <a:moveTo>
                  <a:pt x="148" y="289"/>
                </a:moveTo>
                <a:lnTo>
                  <a:pt x="148" y="96"/>
                </a:lnTo>
                <a:lnTo>
                  <a:pt x="195" y="96"/>
                </a:lnTo>
                <a:lnTo>
                  <a:pt x="195" y="19"/>
                </a:lnTo>
                <a:lnTo>
                  <a:pt x="20" y="19"/>
                </a:lnTo>
                <a:lnTo>
                  <a:pt x="20" y="289"/>
                </a:lnTo>
                <a:lnTo>
                  <a:pt x="148" y="289"/>
                </a:lnTo>
                <a:close/>
                <a:moveTo>
                  <a:pt x="267" y="113"/>
                </a:moveTo>
                <a:lnTo>
                  <a:pt x="165" y="113"/>
                </a:lnTo>
                <a:lnTo>
                  <a:pt x="165" y="292"/>
                </a:lnTo>
                <a:lnTo>
                  <a:pt x="267" y="292"/>
                </a:lnTo>
                <a:lnTo>
                  <a:pt x="267" y="113"/>
                </a:lnTo>
                <a:close/>
                <a:moveTo>
                  <a:pt x="199" y="178"/>
                </a:moveTo>
                <a:lnTo>
                  <a:pt x="182" y="178"/>
                </a:lnTo>
                <a:lnTo>
                  <a:pt x="182" y="195"/>
                </a:lnTo>
                <a:lnTo>
                  <a:pt x="199" y="195"/>
                </a:lnTo>
                <a:lnTo>
                  <a:pt x="199" y="178"/>
                </a:lnTo>
                <a:close/>
                <a:moveTo>
                  <a:pt x="248" y="178"/>
                </a:moveTo>
                <a:lnTo>
                  <a:pt x="233" y="178"/>
                </a:lnTo>
                <a:lnTo>
                  <a:pt x="233" y="195"/>
                </a:lnTo>
                <a:lnTo>
                  <a:pt x="248" y="195"/>
                </a:lnTo>
                <a:lnTo>
                  <a:pt x="248" y="178"/>
                </a:lnTo>
                <a:close/>
                <a:moveTo>
                  <a:pt x="199" y="227"/>
                </a:moveTo>
                <a:lnTo>
                  <a:pt x="182" y="227"/>
                </a:lnTo>
                <a:lnTo>
                  <a:pt x="182" y="244"/>
                </a:lnTo>
                <a:lnTo>
                  <a:pt x="199" y="244"/>
                </a:lnTo>
                <a:lnTo>
                  <a:pt x="199" y="227"/>
                </a:lnTo>
                <a:close/>
                <a:moveTo>
                  <a:pt x="248" y="227"/>
                </a:moveTo>
                <a:lnTo>
                  <a:pt x="233" y="227"/>
                </a:lnTo>
                <a:lnTo>
                  <a:pt x="233" y="244"/>
                </a:lnTo>
                <a:lnTo>
                  <a:pt x="248" y="244"/>
                </a:lnTo>
                <a:lnTo>
                  <a:pt x="248" y="227"/>
                </a:lnTo>
                <a:close/>
                <a:moveTo>
                  <a:pt x="199" y="128"/>
                </a:moveTo>
                <a:lnTo>
                  <a:pt x="182" y="128"/>
                </a:lnTo>
                <a:lnTo>
                  <a:pt x="182" y="145"/>
                </a:lnTo>
                <a:lnTo>
                  <a:pt x="199" y="145"/>
                </a:lnTo>
                <a:lnTo>
                  <a:pt x="199" y="128"/>
                </a:lnTo>
                <a:close/>
                <a:moveTo>
                  <a:pt x="248" y="128"/>
                </a:moveTo>
                <a:lnTo>
                  <a:pt x="233" y="128"/>
                </a:lnTo>
                <a:lnTo>
                  <a:pt x="233" y="145"/>
                </a:lnTo>
                <a:lnTo>
                  <a:pt x="248" y="145"/>
                </a:lnTo>
                <a:lnTo>
                  <a:pt x="248" y="12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84" name="Picture 83">
            <a:extLst>
              <a:ext uri="{FF2B5EF4-FFF2-40B4-BE49-F238E27FC236}">
                <a16:creationId xmlns:a16="http://schemas.microsoft.com/office/drawing/2014/main" id="{693946DD-D2C9-4258-BA39-9EBCEEF0B3A5}"/>
              </a:ext>
            </a:extLst>
          </p:cNvPr>
          <p:cNvPicPr>
            <a:picLocks noChangeAspect="1"/>
          </p:cNvPicPr>
          <p:nvPr/>
        </p:nvPicPr>
        <p:blipFill>
          <a:blip r:embed="rId4"/>
          <a:stretch>
            <a:fillRect/>
          </a:stretch>
        </p:blipFill>
        <p:spPr>
          <a:xfrm>
            <a:off x="968572" y="5644210"/>
            <a:ext cx="398000" cy="515591"/>
          </a:xfrm>
          <a:prstGeom prst="rect">
            <a:avLst/>
          </a:prstGeom>
        </p:spPr>
      </p:pic>
      <p:pic>
        <p:nvPicPr>
          <p:cNvPr id="85" name="Picture 84">
            <a:extLst>
              <a:ext uri="{FF2B5EF4-FFF2-40B4-BE49-F238E27FC236}">
                <a16:creationId xmlns:a16="http://schemas.microsoft.com/office/drawing/2014/main" id="{CAEAB151-7EB0-4C3F-A106-F44B8FFBADC5}"/>
              </a:ext>
            </a:extLst>
          </p:cNvPr>
          <p:cNvPicPr>
            <a:picLocks noChangeAspect="1"/>
          </p:cNvPicPr>
          <p:nvPr/>
        </p:nvPicPr>
        <p:blipFill>
          <a:blip r:embed="rId5"/>
          <a:stretch>
            <a:fillRect/>
          </a:stretch>
        </p:blipFill>
        <p:spPr>
          <a:xfrm>
            <a:off x="1706097" y="5674977"/>
            <a:ext cx="342966" cy="431025"/>
          </a:xfrm>
          <a:prstGeom prst="rect">
            <a:avLst/>
          </a:prstGeom>
        </p:spPr>
      </p:pic>
      <p:pic>
        <p:nvPicPr>
          <p:cNvPr id="86" name="Picture 85">
            <a:extLst>
              <a:ext uri="{FF2B5EF4-FFF2-40B4-BE49-F238E27FC236}">
                <a16:creationId xmlns:a16="http://schemas.microsoft.com/office/drawing/2014/main" id="{B2A295CE-3D97-483A-A797-80EE4A3F577C}"/>
              </a:ext>
            </a:extLst>
          </p:cNvPr>
          <p:cNvPicPr>
            <a:picLocks noChangeAspect="1"/>
          </p:cNvPicPr>
          <p:nvPr/>
        </p:nvPicPr>
        <p:blipFill>
          <a:blip r:embed="rId6"/>
          <a:stretch>
            <a:fillRect/>
          </a:stretch>
        </p:blipFill>
        <p:spPr>
          <a:xfrm>
            <a:off x="400224" y="5004393"/>
            <a:ext cx="367241" cy="530459"/>
          </a:xfrm>
          <a:prstGeom prst="rect">
            <a:avLst/>
          </a:prstGeom>
        </p:spPr>
      </p:pic>
      <p:pic>
        <p:nvPicPr>
          <p:cNvPr id="87" name="Picture 86">
            <a:extLst>
              <a:ext uri="{FF2B5EF4-FFF2-40B4-BE49-F238E27FC236}">
                <a16:creationId xmlns:a16="http://schemas.microsoft.com/office/drawing/2014/main" id="{EEFB2BD9-992C-4010-A280-0AA6629B43E7}"/>
              </a:ext>
            </a:extLst>
          </p:cNvPr>
          <p:cNvPicPr>
            <a:picLocks noChangeAspect="1"/>
          </p:cNvPicPr>
          <p:nvPr/>
        </p:nvPicPr>
        <p:blipFill>
          <a:blip r:embed="rId7"/>
          <a:stretch>
            <a:fillRect/>
          </a:stretch>
        </p:blipFill>
        <p:spPr>
          <a:xfrm>
            <a:off x="1015999" y="5118735"/>
            <a:ext cx="408219" cy="420051"/>
          </a:xfrm>
          <a:prstGeom prst="rect">
            <a:avLst/>
          </a:prstGeom>
        </p:spPr>
      </p:pic>
      <p:pic>
        <p:nvPicPr>
          <p:cNvPr id="88" name="Picture 87">
            <a:extLst>
              <a:ext uri="{FF2B5EF4-FFF2-40B4-BE49-F238E27FC236}">
                <a16:creationId xmlns:a16="http://schemas.microsoft.com/office/drawing/2014/main" id="{018525E7-7CA2-4C79-9DAA-574EB3C7575D}"/>
              </a:ext>
            </a:extLst>
          </p:cNvPr>
          <p:cNvPicPr>
            <a:picLocks noChangeAspect="1"/>
          </p:cNvPicPr>
          <p:nvPr/>
        </p:nvPicPr>
        <p:blipFill>
          <a:blip r:embed="rId8"/>
          <a:stretch>
            <a:fillRect/>
          </a:stretch>
        </p:blipFill>
        <p:spPr>
          <a:xfrm>
            <a:off x="1012459" y="3037213"/>
            <a:ext cx="559518" cy="455163"/>
          </a:xfrm>
          <a:prstGeom prst="rect">
            <a:avLst/>
          </a:prstGeom>
        </p:spPr>
      </p:pic>
      <p:pic>
        <p:nvPicPr>
          <p:cNvPr id="89" name="Picture 88">
            <a:extLst>
              <a:ext uri="{FF2B5EF4-FFF2-40B4-BE49-F238E27FC236}">
                <a16:creationId xmlns:a16="http://schemas.microsoft.com/office/drawing/2014/main" id="{47048682-6FC9-4F4B-A908-AC9DC6A36DB0}"/>
              </a:ext>
            </a:extLst>
          </p:cNvPr>
          <p:cNvPicPr>
            <a:picLocks noChangeAspect="1"/>
          </p:cNvPicPr>
          <p:nvPr/>
        </p:nvPicPr>
        <p:blipFill>
          <a:blip r:embed="rId9"/>
          <a:stretch>
            <a:fillRect/>
          </a:stretch>
        </p:blipFill>
        <p:spPr>
          <a:xfrm>
            <a:off x="1793021" y="3626024"/>
            <a:ext cx="234555" cy="374171"/>
          </a:xfrm>
          <a:prstGeom prst="rect">
            <a:avLst/>
          </a:prstGeom>
        </p:spPr>
      </p:pic>
      <p:pic>
        <p:nvPicPr>
          <p:cNvPr id="90" name="Picture 89">
            <a:extLst>
              <a:ext uri="{FF2B5EF4-FFF2-40B4-BE49-F238E27FC236}">
                <a16:creationId xmlns:a16="http://schemas.microsoft.com/office/drawing/2014/main" id="{C2AE82A1-8537-46E1-B1EB-9CEFBDFCEE36}"/>
              </a:ext>
            </a:extLst>
          </p:cNvPr>
          <p:cNvPicPr>
            <a:picLocks noChangeAspect="1"/>
          </p:cNvPicPr>
          <p:nvPr/>
        </p:nvPicPr>
        <p:blipFill>
          <a:blip r:embed="rId7"/>
          <a:stretch>
            <a:fillRect/>
          </a:stretch>
        </p:blipFill>
        <p:spPr>
          <a:xfrm>
            <a:off x="359295" y="3545173"/>
            <a:ext cx="425279" cy="437606"/>
          </a:xfrm>
          <a:prstGeom prst="rect">
            <a:avLst/>
          </a:prstGeom>
        </p:spPr>
      </p:pic>
      <p:pic>
        <p:nvPicPr>
          <p:cNvPr id="91" name="Picture 90">
            <a:extLst>
              <a:ext uri="{FF2B5EF4-FFF2-40B4-BE49-F238E27FC236}">
                <a16:creationId xmlns:a16="http://schemas.microsoft.com/office/drawing/2014/main" id="{39501019-F971-436E-9509-022F1C34A033}"/>
              </a:ext>
            </a:extLst>
          </p:cNvPr>
          <p:cNvPicPr>
            <a:picLocks noChangeAspect="1"/>
          </p:cNvPicPr>
          <p:nvPr/>
        </p:nvPicPr>
        <p:blipFill>
          <a:blip r:embed="rId10"/>
          <a:stretch>
            <a:fillRect/>
          </a:stretch>
        </p:blipFill>
        <p:spPr>
          <a:xfrm>
            <a:off x="1705256" y="5119257"/>
            <a:ext cx="609600" cy="428625"/>
          </a:xfrm>
          <a:prstGeom prst="rect">
            <a:avLst/>
          </a:prstGeom>
        </p:spPr>
      </p:pic>
      <p:pic>
        <p:nvPicPr>
          <p:cNvPr id="92" name="Picture 91">
            <a:extLst>
              <a:ext uri="{FF2B5EF4-FFF2-40B4-BE49-F238E27FC236}">
                <a16:creationId xmlns:a16="http://schemas.microsoft.com/office/drawing/2014/main" id="{5D2E18DC-78A0-4EEA-85B8-8F77B1A4AD65}"/>
              </a:ext>
            </a:extLst>
          </p:cNvPr>
          <p:cNvPicPr>
            <a:picLocks noChangeAspect="1"/>
          </p:cNvPicPr>
          <p:nvPr/>
        </p:nvPicPr>
        <p:blipFill>
          <a:blip r:embed="rId11"/>
          <a:stretch>
            <a:fillRect/>
          </a:stretch>
        </p:blipFill>
        <p:spPr>
          <a:xfrm>
            <a:off x="2346319" y="3646455"/>
            <a:ext cx="368828" cy="296180"/>
          </a:xfrm>
          <a:prstGeom prst="rect">
            <a:avLst/>
          </a:prstGeom>
        </p:spPr>
      </p:pic>
      <p:pic>
        <p:nvPicPr>
          <p:cNvPr id="93" name="Picture 92">
            <a:extLst>
              <a:ext uri="{FF2B5EF4-FFF2-40B4-BE49-F238E27FC236}">
                <a16:creationId xmlns:a16="http://schemas.microsoft.com/office/drawing/2014/main" id="{88BB13CF-96AB-4757-A771-ECD84D8323C3}"/>
              </a:ext>
            </a:extLst>
          </p:cNvPr>
          <p:cNvPicPr>
            <a:picLocks noChangeAspect="1"/>
          </p:cNvPicPr>
          <p:nvPr/>
        </p:nvPicPr>
        <p:blipFill>
          <a:blip r:embed="rId3"/>
          <a:stretch>
            <a:fillRect/>
          </a:stretch>
        </p:blipFill>
        <p:spPr>
          <a:xfrm>
            <a:off x="963051" y="3677813"/>
            <a:ext cx="533642" cy="319233"/>
          </a:xfrm>
          <a:prstGeom prst="rect">
            <a:avLst/>
          </a:prstGeom>
        </p:spPr>
      </p:pic>
      <p:pic>
        <p:nvPicPr>
          <p:cNvPr id="94" name="Picture 93">
            <a:extLst>
              <a:ext uri="{FF2B5EF4-FFF2-40B4-BE49-F238E27FC236}">
                <a16:creationId xmlns:a16="http://schemas.microsoft.com/office/drawing/2014/main" id="{CA69027D-F990-4B82-AF27-A868B5B0AAF7}"/>
              </a:ext>
            </a:extLst>
          </p:cNvPr>
          <p:cNvPicPr>
            <a:picLocks noChangeAspect="1"/>
          </p:cNvPicPr>
          <p:nvPr/>
        </p:nvPicPr>
        <p:blipFill>
          <a:blip r:embed="rId12"/>
          <a:stretch>
            <a:fillRect/>
          </a:stretch>
        </p:blipFill>
        <p:spPr>
          <a:xfrm>
            <a:off x="2459177" y="3064693"/>
            <a:ext cx="306983" cy="395846"/>
          </a:xfrm>
          <a:prstGeom prst="rect">
            <a:avLst/>
          </a:prstGeom>
        </p:spPr>
      </p:pic>
      <p:pic>
        <p:nvPicPr>
          <p:cNvPr id="107" name="Picture 106">
            <a:extLst>
              <a:ext uri="{FF2B5EF4-FFF2-40B4-BE49-F238E27FC236}">
                <a16:creationId xmlns:a16="http://schemas.microsoft.com/office/drawing/2014/main" id="{C27DF270-C94F-4A39-BC42-AF838A06B4D1}"/>
              </a:ext>
            </a:extLst>
          </p:cNvPr>
          <p:cNvPicPr>
            <a:picLocks noChangeAspect="1"/>
          </p:cNvPicPr>
          <p:nvPr/>
        </p:nvPicPr>
        <p:blipFill>
          <a:blip r:embed="rId13"/>
          <a:stretch>
            <a:fillRect/>
          </a:stretch>
        </p:blipFill>
        <p:spPr>
          <a:xfrm>
            <a:off x="1745100" y="3116787"/>
            <a:ext cx="407498" cy="237090"/>
          </a:xfrm>
          <a:prstGeom prst="rect">
            <a:avLst/>
          </a:prstGeom>
        </p:spPr>
      </p:pic>
      <p:pic>
        <p:nvPicPr>
          <p:cNvPr id="108" name="Picture 107">
            <a:extLst>
              <a:ext uri="{FF2B5EF4-FFF2-40B4-BE49-F238E27FC236}">
                <a16:creationId xmlns:a16="http://schemas.microsoft.com/office/drawing/2014/main" id="{BB4B8B9F-9EB0-4114-AC79-CC3AE3D99320}"/>
              </a:ext>
            </a:extLst>
          </p:cNvPr>
          <p:cNvPicPr>
            <a:picLocks noChangeAspect="1"/>
          </p:cNvPicPr>
          <p:nvPr/>
        </p:nvPicPr>
        <p:blipFill>
          <a:blip r:embed="rId4"/>
          <a:stretch>
            <a:fillRect/>
          </a:stretch>
        </p:blipFill>
        <p:spPr>
          <a:xfrm>
            <a:off x="1976029" y="3184903"/>
            <a:ext cx="208340" cy="269895"/>
          </a:xfrm>
          <a:prstGeom prst="rect">
            <a:avLst/>
          </a:prstGeom>
        </p:spPr>
      </p:pic>
      <p:sp>
        <p:nvSpPr>
          <p:cNvPr id="114" name="Left Brace 113">
            <a:extLst>
              <a:ext uri="{FF2B5EF4-FFF2-40B4-BE49-F238E27FC236}">
                <a16:creationId xmlns:a16="http://schemas.microsoft.com/office/drawing/2014/main" id="{E593B83A-C6D2-444F-8386-AA08E4B8ABA1}"/>
              </a:ext>
            </a:extLst>
          </p:cNvPr>
          <p:cNvSpPr/>
          <p:nvPr/>
        </p:nvSpPr>
        <p:spPr>
          <a:xfrm flipH="1">
            <a:off x="3593523" y="2713663"/>
            <a:ext cx="465080" cy="3473777"/>
          </a:xfrm>
          <a:prstGeom prst="leftBrace">
            <a:avLst>
              <a:gd name="adj1" fmla="val 91690"/>
              <a:gd name="adj2" fmla="val 50000"/>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63"/>
            <a:endParaRPr lang="en-US">
              <a:solidFill>
                <a:srgbClr val="FFFFFF"/>
              </a:solidFill>
              <a:latin typeface="Segoe UI"/>
            </a:endParaRPr>
          </a:p>
        </p:txBody>
      </p:sp>
      <p:sp>
        <p:nvSpPr>
          <p:cNvPr id="118" name="TextBox 117">
            <a:extLst>
              <a:ext uri="{FF2B5EF4-FFF2-40B4-BE49-F238E27FC236}">
                <a16:creationId xmlns:a16="http://schemas.microsoft.com/office/drawing/2014/main" id="{EECBA8C2-D375-4550-90AC-166D4030AF43}"/>
              </a:ext>
            </a:extLst>
          </p:cNvPr>
          <p:cNvSpPr txBox="1"/>
          <p:nvPr/>
        </p:nvSpPr>
        <p:spPr>
          <a:xfrm>
            <a:off x="713690" y="4304835"/>
            <a:ext cx="1590820" cy="489365"/>
          </a:xfrm>
          <a:prstGeom prst="rect">
            <a:avLst/>
          </a:prstGeom>
          <a:solidFill>
            <a:srgbClr val="0070C0"/>
          </a:solidFill>
        </p:spPr>
        <p:txBody>
          <a:bodyPr wrap="none" lIns="182880" tIns="146304" rIns="182880" bIns="146304" rtlCol="0">
            <a:spAutoFit/>
          </a:bodyPr>
          <a:lstStyle/>
          <a:p>
            <a:pPr>
              <a:lnSpc>
                <a:spcPct val="90000"/>
              </a:lnSpc>
              <a:spcAft>
                <a:spcPts val="600"/>
              </a:spcAft>
            </a:pPr>
            <a:r>
              <a:rPr lang="en-IN" sz="1400" b="1" kern="0" dirty="0">
                <a:solidFill>
                  <a:schemeClr val="bg1"/>
                </a:solidFill>
                <a:latin typeface="+mj-lt"/>
              </a:rPr>
              <a:t>DATA SOURCES</a:t>
            </a:r>
          </a:p>
        </p:txBody>
      </p:sp>
      <p:pic>
        <p:nvPicPr>
          <p:cNvPr id="120" name="Picture 119">
            <a:extLst>
              <a:ext uri="{FF2B5EF4-FFF2-40B4-BE49-F238E27FC236}">
                <a16:creationId xmlns:a16="http://schemas.microsoft.com/office/drawing/2014/main" id="{4315D7D0-5B37-49ED-A204-21CA99614787}"/>
              </a:ext>
            </a:extLst>
          </p:cNvPr>
          <p:cNvPicPr>
            <a:picLocks noChangeAspect="1"/>
          </p:cNvPicPr>
          <p:nvPr/>
        </p:nvPicPr>
        <p:blipFill>
          <a:blip r:embed="rId14"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369470" y="5678403"/>
            <a:ext cx="399755" cy="399754"/>
          </a:xfrm>
          <a:prstGeom prst="rect">
            <a:avLst/>
          </a:prstGeom>
        </p:spPr>
      </p:pic>
      <p:cxnSp>
        <p:nvCxnSpPr>
          <p:cNvPr id="126" name="Straight Arrow Connector 125">
            <a:extLst>
              <a:ext uri="{FF2B5EF4-FFF2-40B4-BE49-F238E27FC236}">
                <a16:creationId xmlns:a16="http://schemas.microsoft.com/office/drawing/2014/main" id="{C66F97B4-F274-44E8-A973-3CCD27F70B8B}"/>
              </a:ext>
            </a:extLst>
          </p:cNvPr>
          <p:cNvCxnSpPr>
            <a:cxnSpLocks/>
            <a:stCxn id="118" idx="3"/>
          </p:cNvCxnSpPr>
          <p:nvPr/>
        </p:nvCxnSpPr>
        <p:spPr>
          <a:xfrm flipV="1">
            <a:off x="2304510" y="4541610"/>
            <a:ext cx="532720" cy="7908"/>
          </a:xfrm>
          <a:prstGeom prst="straightConnector1">
            <a:avLst/>
          </a:prstGeom>
          <a:ln w="1905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pic>
        <p:nvPicPr>
          <p:cNvPr id="125" name="Picture 124">
            <a:extLst>
              <a:ext uri="{FF2B5EF4-FFF2-40B4-BE49-F238E27FC236}">
                <a16:creationId xmlns:a16="http://schemas.microsoft.com/office/drawing/2014/main" id="{E7163AEB-EA4F-4DD4-9EE7-927374345B47}"/>
              </a:ext>
            </a:extLst>
          </p:cNvPr>
          <p:cNvPicPr>
            <a:picLocks noChangeAspect="1"/>
          </p:cNvPicPr>
          <p:nvPr/>
        </p:nvPicPr>
        <p:blipFill>
          <a:blip r:embed="rId15"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560430" y="5791892"/>
            <a:ext cx="262295" cy="262294"/>
          </a:xfrm>
          <a:prstGeom prst="rect">
            <a:avLst/>
          </a:prstGeom>
        </p:spPr>
      </p:pic>
      <p:sp>
        <p:nvSpPr>
          <p:cNvPr id="141" name="TextBox 140">
            <a:extLst>
              <a:ext uri="{FF2B5EF4-FFF2-40B4-BE49-F238E27FC236}">
                <a16:creationId xmlns:a16="http://schemas.microsoft.com/office/drawing/2014/main" id="{B0AE381F-35C9-42A3-9EFC-14D5B7906140}"/>
              </a:ext>
            </a:extLst>
          </p:cNvPr>
          <p:cNvSpPr txBox="1"/>
          <p:nvPr/>
        </p:nvSpPr>
        <p:spPr>
          <a:xfrm>
            <a:off x="4519217" y="4461828"/>
            <a:ext cx="1744399" cy="510421"/>
          </a:xfrm>
          <a:prstGeom prst="rect">
            <a:avLst/>
          </a:prstGeom>
          <a:noFill/>
        </p:spPr>
        <p:txBody>
          <a:bodyPr wrap="square" rtlCol="0">
            <a:spAutoFit/>
          </a:bodyPr>
          <a:lstStyle/>
          <a:p>
            <a:pPr algn="ctr" defTabSz="932597"/>
            <a:r>
              <a:rPr lang="en-IN" sz="1428" b="1" kern="0" dirty="0">
                <a:solidFill>
                  <a:schemeClr val="bg1"/>
                </a:solidFill>
                <a:latin typeface="+mj-lt"/>
              </a:rPr>
              <a:t>STORAGE</a:t>
            </a:r>
          </a:p>
          <a:p>
            <a:pPr algn="ctr" defTabSz="932597"/>
            <a:r>
              <a:rPr lang="en-IN" sz="1224" kern="0" dirty="0">
                <a:solidFill>
                  <a:schemeClr val="bg1"/>
                </a:solidFill>
              </a:rPr>
              <a:t>(Blob)</a:t>
            </a:r>
          </a:p>
        </p:txBody>
      </p:sp>
      <p:sp>
        <p:nvSpPr>
          <p:cNvPr id="144" name="TextBox 143">
            <a:extLst>
              <a:ext uri="{FF2B5EF4-FFF2-40B4-BE49-F238E27FC236}">
                <a16:creationId xmlns:a16="http://schemas.microsoft.com/office/drawing/2014/main" id="{3378E8D0-D333-42C3-867E-72158DC1EAA7}"/>
              </a:ext>
            </a:extLst>
          </p:cNvPr>
          <p:cNvSpPr txBox="1"/>
          <p:nvPr/>
        </p:nvSpPr>
        <p:spPr>
          <a:xfrm>
            <a:off x="6233909" y="4453578"/>
            <a:ext cx="1744399" cy="510421"/>
          </a:xfrm>
          <a:prstGeom prst="rect">
            <a:avLst/>
          </a:prstGeom>
          <a:noFill/>
        </p:spPr>
        <p:txBody>
          <a:bodyPr wrap="square" rtlCol="0">
            <a:spAutoFit/>
          </a:bodyPr>
          <a:lstStyle/>
          <a:p>
            <a:pPr algn="ctr" defTabSz="932597"/>
            <a:r>
              <a:rPr lang="en-IN" sz="1428" b="1" kern="0" dirty="0">
                <a:solidFill>
                  <a:schemeClr val="bg1"/>
                </a:solidFill>
                <a:latin typeface="+mj-lt"/>
              </a:rPr>
              <a:t>ANALYSIS</a:t>
            </a:r>
          </a:p>
          <a:p>
            <a:pPr algn="ctr" defTabSz="932597"/>
            <a:r>
              <a:rPr lang="en-IN" sz="1224" kern="0" dirty="0">
                <a:solidFill>
                  <a:schemeClr val="bg1"/>
                </a:solidFill>
              </a:rPr>
              <a:t>(HDInsight)</a:t>
            </a:r>
          </a:p>
        </p:txBody>
      </p:sp>
      <p:sp>
        <p:nvSpPr>
          <p:cNvPr id="145" name="TextBox 144">
            <a:extLst>
              <a:ext uri="{FF2B5EF4-FFF2-40B4-BE49-F238E27FC236}">
                <a16:creationId xmlns:a16="http://schemas.microsoft.com/office/drawing/2014/main" id="{E93385CA-0BDB-420E-AFA3-C3777F59E451}"/>
              </a:ext>
            </a:extLst>
          </p:cNvPr>
          <p:cNvSpPr txBox="1"/>
          <p:nvPr/>
        </p:nvSpPr>
        <p:spPr>
          <a:xfrm>
            <a:off x="7962887" y="4453578"/>
            <a:ext cx="1744399" cy="510421"/>
          </a:xfrm>
          <a:prstGeom prst="rect">
            <a:avLst/>
          </a:prstGeom>
          <a:noFill/>
        </p:spPr>
        <p:txBody>
          <a:bodyPr wrap="square" rtlCol="0">
            <a:spAutoFit/>
          </a:bodyPr>
          <a:lstStyle/>
          <a:p>
            <a:pPr algn="ctr" defTabSz="932597"/>
            <a:r>
              <a:rPr lang="en-IN" sz="1428" b="1" kern="0" dirty="0">
                <a:solidFill>
                  <a:schemeClr val="bg1"/>
                </a:solidFill>
                <a:latin typeface="+mj-lt"/>
              </a:rPr>
              <a:t>STORAGE</a:t>
            </a:r>
          </a:p>
          <a:p>
            <a:pPr algn="ctr" defTabSz="932597"/>
            <a:r>
              <a:rPr lang="en-IN" sz="1224" kern="0" dirty="0">
                <a:solidFill>
                  <a:schemeClr val="bg1"/>
                </a:solidFill>
              </a:rPr>
              <a:t>(SQL Database)</a:t>
            </a:r>
          </a:p>
        </p:txBody>
      </p:sp>
      <p:cxnSp>
        <p:nvCxnSpPr>
          <p:cNvPr id="146" name="Straight Arrow Connector 145">
            <a:extLst>
              <a:ext uri="{FF2B5EF4-FFF2-40B4-BE49-F238E27FC236}">
                <a16:creationId xmlns:a16="http://schemas.microsoft.com/office/drawing/2014/main" id="{08B46604-D93C-4F1F-A5B1-C4A3A9DC234E}"/>
              </a:ext>
            </a:extLst>
          </p:cNvPr>
          <p:cNvCxnSpPr>
            <a:cxnSpLocks/>
          </p:cNvCxnSpPr>
          <p:nvPr/>
        </p:nvCxnSpPr>
        <p:spPr>
          <a:xfrm>
            <a:off x="5354840" y="5088255"/>
            <a:ext cx="0" cy="500997"/>
          </a:xfrm>
          <a:prstGeom prst="straightConnector1">
            <a:avLst/>
          </a:prstGeom>
          <a:ln w="25400">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47" name="TextBox 146">
            <a:extLst>
              <a:ext uri="{FF2B5EF4-FFF2-40B4-BE49-F238E27FC236}">
                <a16:creationId xmlns:a16="http://schemas.microsoft.com/office/drawing/2014/main" id="{1705CC14-7F6E-4E9D-BDDC-1445A6FF8B48}"/>
              </a:ext>
            </a:extLst>
          </p:cNvPr>
          <p:cNvSpPr txBox="1"/>
          <p:nvPr/>
        </p:nvSpPr>
        <p:spPr>
          <a:xfrm>
            <a:off x="4813497" y="5638791"/>
            <a:ext cx="4409616" cy="461665"/>
          </a:xfrm>
          <a:prstGeom prst="rect">
            <a:avLst/>
          </a:prstGeom>
          <a:noFill/>
        </p:spPr>
        <p:txBody>
          <a:bodyPr wrap="square" rtlCol="0">
            <a:spAutoFit/>
          </a:bodyPr>
          <a:lstStyle/>
          <a:p>
            <a:pPr defTabSz="932597"/>
            <a:r>
              <a:rPr lang="en-US" sz="2400" b="1" kern="0" dirty="0">
                <a:solidFill>
                  <a:schemeClr val="bg1"/>
                </a:solidFill>
                <a:latin typeface="+mj-lt"/>
              </a:rPr>
              <a:t>Data Factory Movement Service</a:t>
            </a:r>
          </a:p>
        </p:txBody>
      </p:sp>
      <p:cxnSp>
        <p:nvCxnSpPr>
          <p:cNvPr id="148" name="Straight Connector 147">
            <a:extLst>
              <a:ext uri="{FF2B5EF4-FFF2-40B4-BE49-F238E27FC236}">
                <a16:creationId xmlns:a16="http://schemas.microsoft.com/office/drawing/2014/main" id="{81D93F59-0522-40B2-AD66-5FC4401BAA42}"/>
              </a:ext>
            </a:extLst>
          </p:cNvPr>
          <p:cNvCxnSpPr>
            <a:cxnSpLocks/>
          </p:cNvCxnSpPr>
          <p:nvPr/>
        </p:nvCxnSpPr>
        <p:spPr>
          <a:xfrm flipV="1">
            <a:off x="10740042" y="3258726"/>
            <a:ext cx="0" cy="317801"/>
          </a:xfrm>
          <a:prstGeom prst="line">
            <a:avLst/>
          </a:prstGeom>
          <a:ln w="19050">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D3BCDD54-295E-43E5-B89A-44EB3BA41BBA}"/>
              </a:ext>
            </a:extLst>
          </p:cNvPr>
          <p:cNvCxnSpPr/>
          <p:nvPr/>
        </p:nvCxnSpPr>
        <p:spPr>
          <a:xfrm>
            <a:off x="9783482" y="3849716"/>
            <a:ext cx="413650" cy="0"/>
          </a:xfrm>
          <a:prstGeom prst="line">
            <a:avLst/>
          </a:prstGeom>
          <a:ln w="19050">
            <a:solidFill>
              <a:schemeClr val="bg1"/>
            </a:solidFill>
            <a:prstDash val="sysDash"/>
            <a:headEnd type="oval"/>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EC02E859-629C-4CD2-9724-C76334B907E3}"/>
              </a:ext>
            </a:extLst>
          </p:cNvPr>
          <p:cNvCxnSpPr/>
          <p:nvPr/>
        </p:nvCxnSpPr>
        <p:spPr>
          <a:xfrm>
            <a:off x="9927933" y="3787049"/>
            <a:ext cx="269199" cy="0"/>
          </a:xfrm>
          <a:prstGeom prst="line">
            <a:avLst/>
          </a:prstGeom>
          <a:ln w="19050">
            <a:solidFill>
              <a:schemeClr val="bg1"/>
            </a:solidFill>
            <a:prstDash val="sysDash"/>
            <a:headEnd type="oval"/>
          </a:ln>
        </p:spPr>
        <p:style>
          <a:lnRef idx="1">
            <a:schemeClr val="accent1"/>
          </a:lnRef>
          <a:fillRef idx="0">
            <a:schemeClr val="accent1"/>
          </a:fillRef>
          <a:effectRef idx="0">
            <a:schemeClr val="accent1"/>
          </a:effectRef>
          <a:fontRef idx="minor">
            <a:schemeClr val="tx1"/>
          </a:fontRef>
        </p:style>
      </p:cxnSp>
      <p:sp>
        <p:nvSpPr>
          <p:cNvPr id="153" name="TextBox 152">
            <a:extLst>
              <a:ext uri="{FF2B5EF4-FFF2-40B4-BE49-F238E27FC236}">
                <a16:creationId xmlns:a16="http://schemas.microsoft.com/office/drawing/2014/main" id="{33E6565A-0D28-4AAB-82AD-EAA076DAB36E}"/>
              </a:ext>
            </a:extLst>
          </p:cNvPr>
          <p:cNvSpPr txBox="1"/>
          <p:nvPr/>
        </p:nvSpPr>
        <p:spPr>
          <a:xfrm>
            <a:off x="6129608" y="2967619"/>
            <a:ext cx="2490789" cy="538609"/>
          </a:xfrm>
          <a:prstGeom prst="rect">
            <a:avLst/>
          </a:prstGeom>
          <a:noFill/>
        </p:spPr>
        <p:txBody>
          <a:bodyPr wrap="square" lIns="0" tIns="0" rIns="0" bIns="0" rtlCol="0">
            <a:spAutoFit/>
          </a:bodyPr>
          <a:lstStyle/>
          <a:p>
            <a:pPr defTabSz="951121">
              <a:spcBef>
                <a:spcPct val="0"/>
              </a:spcBef>
              <a:spcAft>
                <a:spcPts val="612"/>
              </a:spcAft>
              <a:defRPr/>
            </a:pPr>
            <a:r>
              <a:rPr lang="en-IN" sz="1400" kern="0" dirty="0">
                <a:solidFill>
                  <a:schemeClr val="bg1"/>
                </a:solidFill>
              </a:rPr>
              <a:t>MACHINE LEARNING</a:t>
            </a:r>
          </a:p>
          <a:p>
            <a:pPr marL="0" marR="0" lvl="0" indent="0" algn="l" defTabSz="951121" rtl="0" eaLnBrk="1" fontAlgn="auto" latinLnBrk="0" hangingPunct="1">
              <a:lnSpc>
                <a:spcPct val="100000"/>
              </a:lnSpc>
              <a:spcBef>
                <a:spcPct val="0"/>
              </a:spcBef>
              <a:spcAft>
                <a:spcPts val="612"/>
              </a:spcAft>
              <a:buClrTx/>
              <a:buSzTx/>
              <a:buFontTx/>
              <a:buNone/>
              <a:tabLst/>
              <a:defRPr/>
            </a:pPr>
            <a:endParaRPr lang="en-US" sz="1600" b="1" kern="0" dirty="0">
              <a:solidFill>
                <a:schemeClr val="bg1"/>
              </a:solidFill>
              <a:latin typeface="+mj-lt"/>
            </a:endParaRPr>
          </a:p>
        </p:txBody>
      </p:sp>
      <p:sp>
        <p:nvSpPr>
          <p:cNvPr id="154" name="TextBox 153">
            <a:extLst>
              <a:ext uri="{FF2B5EF4-FFF2-40B4-BE49-F238E27FC236}">
                <a16:creationId xmlns:a16="http://schemas.microsoft.com/office/drawing/2014/main" id="{F2CB8BF7-6E10-4E95-902F-3E71C3F1B603}"/>
              </a:ext>
            </a:extLst>
          </p:cNvPr>
          <p:cNvSpPr txBox="1"/>
          <p:nvPr/>
        </p:nvSpPr>
        <p:spPr>
          <a:xfrm>
            <a:off x="10373359" y="3576527"/>
            <a:ext cx="1836080" cy="461665"/>
          </a:xfrm>
          <a:prstGeom prst="rect">
            <a:avLst/>
          </a:prstGeom>
          <a:noFill/>
          <a:ln>
            <a:noFill/>
          </a:ln>
        </p:spPr>
        <p:txBody>
          <a:bodyPr wrap="none" lIns="182880" tIns="146304" rIns="182880" bIns="146304" rtlCol="0">
            <a:spAutoFit/>
          </a:bodyPr>
          <a:lstStyle/>
          <a:p>
            <a:pPr>
              <a:lnSpc>
                <a:spcPct val="90000"/>
              </a:lnSpc>
              <a:spcAft>
                <a:spcPts val="600"/>
              </a:spcAft>
            </a:pPr>
            <a:r>
              <a:rPr lang="en-IN" sz="1200" b="1" kern="0" dirty="0">
                <a:solidFill>
                  <a:schemeClr val="bg1"/>
                </a:solidFill>
                <a:latin typeface="+mj-lt"/>
              </a:rPr>
              <a:t>DATA CONSUMPTION</a:t>
            </a:r>
          </a:p>
        </p:txBody>
      </p:sp>
      <p:pic>
        <p:nvPicPr>
          <p:cNvPr id="155" name="Picture 154">
            <a:extLst>
              <a:ext uri="{FF2B5EF4-FFF2-40B4-BE49-F238E27FC236}">
                <a16:creationId xmlns:a16="http://schemas.microsoft.com/office/drawing/2014/main" id="{D83AEBF3-2AE3-48D8-A58B-78BD6D930979}"/>
              </a:ext>
            </a:extLst>
          </p:cNvPr>
          <p:cNvPicPr>
            <a:picLocks noChangeAspect="1"/>
          </p:cNvPicPr>
          <p:nvPr/>
        </p:nvPicPr>
        <p:blipFill>
          <a:blip r:embed="rId8"/>
          <a:stretch>
            <a:fillRect/>
          </a:stretch>
        </p:blipFill>
        <p:spPr>
          <a:xfrm>
            <a:off x="6530237" y="3648283"/>
            <a:ext cx="995938" cy="810188"/>
          </a:xfrm>
          <a:prstGeom prst="rect">
            <a:avLst/>
          </a:prstGeom>
        </p:spPr>
      </p:pic>
      <p:pic>
        <p:nvPicPr>
          <p:cNvPr id="156" name="Picture 155">
            <a:extLst>
              <a:ext uri="{FF2B5EF4-FFF2-40B4-BE49-F238E27FC236}">
                <a16:creationId xmlns:a16="http://schemas.microsoft.com/office/drawing/2014/main" id="{645A83F3-B84E-4B06-A615-5CDCF46C6237}"/>
              </a:ext>
            </a:extLst>
          </p:cNvPr>
          <p:cNvPicPr>
            <a:picLocks noChangeAspect="1"/>
          </p:cNvPicPr>
          <p:nvPr/>
        </p:nvPicPr>
        <p:blipFill>
          <a:blip r:embed="rId4"/>
          <a:stretch>
            <a:fillRect/>
          </a:stretch>
        </p:blipFill>
        <p:spPr>
          <a:xfrm>
            <a:off x="8497480" y="3704257"/>
            <a:ext cx="593957" cy="769444"/>
          </a:xfrm>
          <a:prstGeom prst="rect">
            <a:avLst/>
          </a:prstGeom>
        </p:spPr>
      </p:pic>
      <p:pic>
        <p:nvPicPr>
          <p:cNvPr id="157" name="Picture 156">
            <a:extLst>
              <a:ext uri="{FF2B5EF4-FFF2-40B4-BE49-F238E27FC236}">
                <a16:creationId xmlns:a16="http://schemas.microsoft.com/office/drawing/2014/main" id="{A29A3A2F-500F-40C2-A6A3-7714A06D0B5F}"/>
              </a:ext>
            </a:extLst>
          </p:cNvPr>
          <p:cNvPicPr>
            <a:picLocks noChangeAspect="1"/>
          </p:cNvPicPr>
          <p:nvPr/>
        </p:nvPicPr>
        <p:blipFill>
          <a:blip r:embed="rId16"/>
          <a:stretch>
            <a:fillRect/>
          </a:stretch>
        </p:blipFill>
        <p:spPr>
          <a:xfrm>
            <a:off x="10374352" y="2528508"/>
            <a:ext cx="696269" cy="634834"/>
          </a:xfrm>
          <a:prstGeom prst="rect">
            <a:avLst/>
          </a:prstGeom>
        </p:spPr>
      </p:pic>
      <p:pic>
        <p:nvPicPr>
          <p:cNvPr id="160" name="Picture 159">
            <a:extLst>
              <a:ext uri="{FF2B5EF4-FFF2-40B4-BE49-F238E27FC236}">
                <a16:creationId xmlns:a16="http://schemas.microsoft.com/office/drawing/2014/main" id="{4EF7EF96-9389-4960-8C20-BA63DAB9E56E}"/>
              </a:ext>
            </a:extLst>
          </p:cNvPr>
          <p:cNvPicPr>
            <a:picLocks noChangeAspect="1"/>
          </p:cNvPicPr>
          <p:nvPr/>
        </p:nvPicPr>
        <p:blipFill>
          <a:blip r:embed="rId17"/>
          <a:stretch>
            <a:fillRect/>
          </a:stretch>
        </p:blipFill>
        <p:spPr>
          <a:xfrm>
            <a:off x="10722486" y="4481153"/>
            <a:ext cx="1074400" cy="755622"/>
          </a:xfrm>
          <a:prstGeom prst="rect">
            <a:avLst/>
          </a:prstGeom>
        </p:spPr>
      </p:pic>
      <p:pic>
        <p:nvPicPr>
          <p:cNvPr id="163" name="Picture 162">
            <a:extLst>
              <a:ext uri="{FF2B5EF4-FFF2-40B4-BE49-F238E27FC236}">
                <a16:creationId xmlns:a16="http://schemas.microsoft.com/office/drawing/2014/main" id="{94847AE5-79FE-4B30-8909-81064F174DAD}"/>
              </a:ext>
            </a:extLst>
          </p:cNvPr>
          <p:cNvPicPr>
            <a:picLocks noChangeAspect="1"/>
          </p:cNvPicPr>
          <p:nvPr/>
        </p:nvPicPr>
        <p:blipFill>
          <a:blip r:embed="rId18"/>
          <a:stretch>
            <a:fillRect/>
          </a:stretch>
        </p:blipFill>
        <p:spPr>
          <a:xfrm>
            <a:off x="11337900" y="2470970"/>
            <a:ext cx="561538" cy="658871"/>
          </a:xfrm>
          <a:prstGeom prst="rect">
            <a:avLst/>
          </a:prstGeom>
        </p:spPr>
      </p:pic>
      <p:pic>
        <p:nvPicPr>
          <p:cNvPr id="164" name="Picture 163">
            <a:extLst>
              <a:ext uri="{FF2B5EF4-FFF2-40B4-BE49-F238E27FC236}">
                <a16:creationId xmlns:a16="http://schemas.microsoft.com/office/drawing/2014/main" id="{E8279C34-0752-4910-86BC-97C856A275C1}"/>
              </a:ext>
            </a:extLst>
          </p:cNvPr>
          <p:cNvPicPr>
            <a:picLocks noChangeAspect="1"/>
          </p:cNvPicPr>
          <p:nvPr/>
        </p:nvPicPr>
        <p:blipFill>
          <a:blip r:embed="rId19"/>
          <a:stretch>
            <a:fillRect/>
          </a:stretch>
        </p:blipFill>
        <p:spPr>
          <a:xfrm>
            <a:off x="11622994" y="2684692"/>
            <a:ext cx="400050" cy="457200"/>
          </a:xfrm>
          <a:prstGeom prst="rect">
            <a:avLst/>
          </a:prstGeom>
        </p:spPr>
      </p:pic>
      <p:pic>
        <p:nvPicPr>
          <p:cNvPr id="165" name="Picture 164">
            <a:extLst>
              <a:ext uri="{FF2B5EF4-FFF2-40B4-BE49-F238E27FC236}">
                <a16:creationId xmlns:a16="http://schemas.microsoft.com/office/drawing/2014/main" id="{BA9238C7-E7AD-4015-AE32-AA0D41020337}"/>
              </a:ext>
            </a:extLst>
          </p:cNvPr>
          <p:cNvPicPr>
            <a:picLocks noChangeAspect="1"/>
          </p:cNvPicPr>
          <p:nvPr/>
        </p:nvPicPr>
        <p:blipFill>
          <a:blip r:embed="rId11"/>
          <a:stretch>
            <a:fillRect/>
          </a:stretch>
        </p:blipFill>
        <p:spPr>
          <a:xfrm>
            <a:off x="4915113" y="3836267"/>
            <a:ext cx="628650" cy="504825"/>
          </a:xfrm>
          <a:prstGeom prst="rect">
            <a:avLst/>
          </a:prstGeom>
        </p:spPr>
      </p:pic>
      <p:sp>
        <p:nvSpPr>
          <p:cNvPr id="166" name="TextBox 165">
            <a:extLst>
              <a:ext uri="{FF2B5EF4-FFF2-40B4-BE49-F238E27FC236}">
                <a16:creationId xmlns:a16="http://schemas.microsoft.com/office/drawing/2014/main" id="{20271052-A40B-4408-BA5C-00C859B7A25C}"/>
              </a:ext>
            </a:extLst>
          </p:cNvPr>
          <p:cNvSpPr txBox="1"/>
          <p:nvPr/>
        </p:nvSpPr>
        <p:spPr>
          <a:xfrm>
            <a:off x="5134366" y="2374528"/>
            <a:ext cx="983283" cy="954107"/>
          </a:xfrm>
          <a:prstGeom prst="rect">
            <a:avLst/>
          </a:prstGeom>
          <a:noFill/>
        </p:spPr>
        <p:txBody>
          <a:bodyPr wrap="none" lIns="182880" tIns="146304" rIns="182880" bIns="146304" rtlCol="0">
            <a:spAutoFit/>
          </a:bodyPr>
          <a:lstStyle/>
          <a:p>
            <a:pPr>
              <a:lnSpc>
                <a:spcPct val="90000"/>
              </a:lnSpc>
              <a:spcAft>
                <a:spcPts val="600"/>
              </a:spcAft>
            </a:pPr>
            <a:r>
              <a:rPr lang="en-IN" kern="0" dirty="0">
                <a:solidFill>
                  <a:srgbClr val="0078D7"/>
                </a:solidFill>
              </a:rPr>
              <a:t>99.9%</a:t>
            </a:r>
          </a:p>
          <a:p>
            <a:pPr>
              <a:lnSpc>
                <a:spcPct val="90000"/>
              </a:lnSpc>
              <a:spcAft>
                <a:spcPts val="600"/>
              </a:spcAft>
            </a:pPr>
            <a:endParaRPr lang="en-IN" sz="2400" dirty="0" err="1">
              <a:gradFill>
                <a:gsLst>
                  <a:gs pos="2917">
                    <a:schemeClr val="tx1"/>
                  </a:gs>
                  <a:gs pos="30000">
                    <a:schemeClr val="tx1"/>
                  </a:gs>
                </a:gsLst>
                <a:lin ang="5400000" scaled="0"/>
              </a:gradFill>
            </a:endParaRPr>
          </a:p>
        </p:txBody>
      </p:sp>
      <p:sp>
        <p:nvSpPr>
          <p:cNvPr id="167" name="TextBox 166">
            <a:extLst>
              <a:ext uri="{FF2B5EF4-FFF2-40B4-BE49-F238E27FC236}">
                <a16:creationId xmlns:a16="http://schemas.microsoft.com/office/drawing/2014/main" id="{36979BA5-1C52-44A9-B2A2-78B7D6BC8932}"/>
              </a:ext>
            </a:extLst>
          </p:cNvPr>
          <p:cNvSpPr txBox="1"/>
          <p:nvPr/>
        </p:nvSpPr>
        <p:spPr>
          <a:xfrm>
            <a:off x="4964840" y="2705440"/>
            <a:ext cx="601768" cy="447815"/>
          </a:xfrm>
          <a:prstGeom prst="rect">
            <a:avLst/>
          </a:prstGeom>
          <a:noFill/>
        </p:spPr>
        <p:txBody>
          <a:bodyPr wrap="none" lIns="182880" tIns="146304" rIns="182880" bIns="146304" rtlCol="0">
            <a:spAutoFit/>
          </a:bodyPr>
          <a:lstStyle/>
          <a:p>
            <a:pPr>
              <a:lnSpc>
                <a:spcPct val="90000"/>
              </a:lnSpc>
              <a:spcAft>
                <a:spcPts val="600"/>
              </a:spcAft>
            </a:pPr>
            <a:r>
              <a:rPr lang="en-IN" sz="1100" kern="0" dirty="0">
                <a:solidFill>
                  <a:srgbClr val="0078D7"/>
                </a:solidFill>
              </a:rPr>
              <a:t>SLA</a:t>
            </a:r>
          </a:p>
        </p:txBody>
      </p:sp>
      <p:cxnSp>
        <p:nvCxnSpPr>
          <p:cNvPr id="168" name="Straight Connector 167">
            <a:extLst>
              <a:ext uri="{FF2B5EF4-FFF2-40B4-BE49-F238E27FC236}">
                <a16:creationId xmlns:a16="http://schemas.microsoft.com/office/drawing/2014/main" id="{DDDA0C87-91E4-4F37-A541-072C698B0E5D}"/>
              </a:ext>
            </a:extLst>
          </p:cNvPr>
          <p:cNvCxnSpPr>
            <a:cxnSpLocks/>
          </p:cNvCxnSpPr>
          <p:nvPr/>
        </p:nvCxnSpPr>
        <p:spPr>
          <a:xfrm flipV="1">
            <a:off x="11694668" y="3245650"/>
            <a:ext cx="0" cy="317801"/>
          </a:xfrm>
          <a:prstGeom prst="line">
            <a:avLst/>
          </a:prstGeom>
          <a:ln w="19050">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169" name="Straight Connector 168">
            <a:extLst>
              <a:ext uri="{FF2B5EF4-FFF2-40B4-BE49-F238E27FC236}">
                <a16:creationId xmlns:a16="http://schemas.microsoft.com/office/drawing/2014/main" id="{746971EB-74E3-4026-A873-B183D9B7B415}"/>
              </a:ext>
            </a:extLst>
          </p:cNvPr>
          <p:cNvCxnSpPr>
            <a:cxnSpLocks/>
          </p:cNvCxnSpPr>
          <p:nvPr/>
        </p:nvCxnSpPr>
        <p:spPr>
          <a:xfrm flipV="1">
            <a:off x="11242962" y="4020726"/>
            <a:ext cx="0" cy="317801"/>
          </a:xfrm>
          <a:prstGeom prst="line">
            <a:avLst/>
          </a:prstGeom>
          <a:ln w="19050">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170" name="Straight Arrow Connector 169">
            <a:extLst>
              <a:ext uri="{FF2B5EF4-FFF2-40B4-BE49-F238E27FC236}">
                <a16:creationId xmlns:a16="http://schemas.microsoft.com/office/drawing/2014/main" id="{850813FA-5D86-4061-81FD-C7E9EFB09CEF}"/>
              </a:ext>
            </a:extLst>
          </p:cNvPr>
          <p:cNvCxnSpPr>
            <a:cxnSpLocks/>
          </p:cNvCxnSpPr>
          <p:nvPr/>
        </p:nvCxnSpPr>
        <p:spPr>
          <a:xfrm>
            <a:off x="7076960" y="5080635"/>
            <a:ext cx="0" cy="500997"/>
          </a:xfrm>
          <a:prstGeom prst="straightConnector1">
            <a:avLst/>
          </a:prstGeom>
          <a:ln w="25400">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1" name="Straight Arrow Connector 170">
            <a:extLst>
              <a:ext uri="{FF2B5EF4-FFF2-40B4-BE49-F238E27FC236}">
                <a16:creationId xmlns:a16="http://schemas.microsoft.com/office/drawing/2014/main" id="{876254CF-0D67-4836-B8F3-6798F63F27CE}"/>
              </a:ext>
            </a:extLst>
          </p:cNvPr>
          <p:cNvCxnSpPr>
            <a:cxnSpLocks/>
          </p:cNvCxnSpPr>
          <p:nvPr/>
        </p:nvCxnSpPr>
        <p:spPr>
          <a:xfrm>
            <a:off x="8799080" y="5033855"/>
            <a:ext cx="0" cy="500997"/>
          </a:xfrm>
          <a:prstGeom prst="straightConnector1">
            <a:avLst/>
          </a:prstGeom>
          <a:ln w="25400">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2" name="Straight Arrow Connector 171">
            <a:extLst>
              <a:ext uri="{FF2B5EF4-FFF2-40B4-BE49-F238E27FC236}">
                <a16:creationId xmlns:a16="http://schemas.microsoft.com/office/drawing/2014/main" id="{E67DE046-2E43-4BB3-8D73-91A968BE02F0}"/>
              </a:ext>
            </a:extLst>
          </p:cNvPr>
          <p:cNvCxnSpPr>
            <a:cxnSpLocks/>
          </p:cNvCxnSpPr>
          <p:nvPr/>
        </p:nvCxnSpPr>
        <p:spPr>
          <a:xfrm>
            <a:off x="7016000" y="3278456"/>
            <a:ext cx="0" cy="362498"/>
          </a:xfrm>
          <a:prstGeom prst="straightConnector1">
            <a:avLst/>
          </a:prstGeom>
          <a:ln w="25400">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3" name="Straight Arrow Connector 172">
            <a:extLst>
              <a:ext uri="{FF2B5EF4-FFF2-40B4-BE49-F238E27FC236}">
                <a16:creationId xmlns:a16="http://schemas.microsoft.com/office/drawing/2014/main" id="{0CC723C7-2756-44A2-AE25-B14F00658F7B}"/>
              </a:ext>
            </a:extLst>
          </p:cNvPr>
          <p:cNvCxnSpPr>
            <a:cxnSpLocks/>
          </p:cNvCxnSpPr>
          <p:nvPr/>
        </p:nvCxnSpPr>
        <p:spPr>
          <a:xfrm>
            <a:off x="5727009" y="4062544"/>
            <a:ext cx="624320" cy="0"/>
          </a:xfrm>
          <a:prstGeom prst="straightConnector1">
            <a:avLst/>
          </a:prstGeom>
          <a:ln w="25400">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4" name="Straight Arrow Connector 173">
            <a:extLst>
              <a:ext uri="{FF2B5EF4-FFF2-40B4-BE49-F238E27FC236}">
                <a16:creationId xmlns:a16="http://schemas.microsoft.com/office/drawing/2014/main" id="{54871E00-7606-4023-B924-0A30BB6E9196}"/>
              </a:ext>
            </a:extLst>
          </p:cNvPr>
          <p:cNvCxnSpPr>
            <a:cxnSpLocks/>
          </p:cNvCxnSpPr>
          <p:nvPr/>
        </p:nvCxnSpPr>
        <p:spPr>
          <a:xfrm>
            <a:off x="7650727" y="4052646"/>
            <a:ext cx="624320" cy="0"/>
          </a:xfrm>
          <a:prstGeom prst="straightConnector1">
            <a:avLst/>
          </a:prstGeom>
          <a:ln w="25400">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5" name="Straight Arrow Connector 174">
            <a:extLst>
              <a:ext uri="{FF2B5EF4-FFF2-40B4-BE49-F238E27FC236}">
                <a16:creationId xmlns:a16="http://schemas.microsoft.com/office/drawing/2014/main" id="{5D8E9A14-7D04-4F9F-8D34-4DDF43F466F0}"/>
              </a:ext>
            </a:extLst>
          </p:cNvPr>
          <p:cNvCxnSpPr>
            <a:cxnSpLocks/>
          </p:cNvCxnSpPr>
          <p:nvPr/>
        </p:nvCxnSpPr>
        <p:spPr>
          <a:xfrm flipV="1">
            <a:off x="9692919" y="4036802"/>
            <a:ext cx="439872" cy="1390"/>
          </a:xfrm>
          <a:prstGeom prst="straightConnector1">
            <a:avLst/>
          </a:prstGeom>
          <a:ln w="50800">
            <a:solidFill>
              <a:schemeClr val="bg1"/>
            </a:solidFill>
            <a:tailEnd type="triangle"/>
          </a:ln>
        </p:spPr>
        <p:style>
          <a:lnRef idx="1">
            <a:schemeClr val="accent2"/>
          </a:lnRef>
          <a:fillRef idx="0">
            <a:schemeClr val="accent2"/>
          </a:fillRef>
          <a:effectRef idx="0">
            <a:schemeClr val="accent2"/>
          </a:effectRef>
          <a:fontRef idx="minor">
            <a:schemeClr val="tx1"/>
          </a:fontRef>
        </p:style>
      </p:cxnSp>
      <p:cxnSp>
        <p:nvCxnSpPr>
          <p:cNvPr id="176" name="Straight Arrow Connector 175">
            <a:extLst>
              <a:ext uri="{FF2B5EF4-FFF2-40B4-BE49-F238E27FC236}">
                <a16:creationId xmlns:a16="http://schemas.microsoft.com/office/drawing/2014/main" id="{4A40F95C-49C2-42BC-A983-29656CFBCCD7}"/>
              </a:ext>
            </a:extLst>
          </p:cNvPr>
          <p:cNvCxnSpPr>
            <a:cxnSpLocks/>
          </p:cNvCxnSpPr>
          <p:nvPr/>
        </p:nvCxnSpPr>
        <p:spPr>
          <a:xfrm flipV="1">
            <a:off x="9692919" y="3621416"/>
            <a:ext cx="439872" cy="1390"/>
          </a:xfrm>
          <a:prstGeom prst="straightConnector1">
            <a:avLst/>
          </a:prstGeom>
          <a:ln w="50800">
            <a:solidFill>
              <a:schemeClr val="bg1"/>
            </a:solidFill>
            <a:tailEnd type="triangle"/>
          </a:ln>
        </p:spPr>
        <p:style>
          <a:lnRef idx="1">
            <a:schemeClr val="accent2"/>
          </a:lnRef>
          <a:fillRef idx="0">
            <a:schemeClr val="accent2"/>
          </a:fillRef>
          <a:effectRef idx="0">
            <a:schemeClr val="accent2"/>
          </a:effectRef>
          <a:fontRef idx="minor">
            <a:schemeClr val="tx1"/>
          </a:fontRef>
        </p:style>
      </p:cxnSp>
      <p:pic>
        <p:nvPicPr>
          <p:cNvPr id="177" name="Picture 176">
            <a:extLst>
              <a:ext uri="{FF2B5EF4-FFF2-40B4-BE49-F238E27FC236}">
                <a16:creationId xmlns:a16="http://schemas.microsoft.com/office/drawing/2014/main" id="{C7BAE60A-1D3C-4467-ABA8-7B3B094341C0}"/>
              </a:ext>
            </a:extLst>
          </p:cNvPr>
          <p:cNvPicPr>
            <a:picLocks noChangeAspect="1"/>
          </p:cNvPicPr>
          <p:nvPr/>
        </p:nvPicPr>
        <p:blipFill>
          <a:blip r:embed="rId20"/>
          <a:stretch>
            <a:fillRect/>
          </a:stretch>
        </p:blipFill>
        <p:spPr>
          <a:xfrm>
            <a:off x="6578769" y="2199480"/>
            <a:ext cx="787168" cy="787168"/>
          </a:xfrm>
          <a:prstGeom prst="rect">
            <a:avLst/>
          </a:prstGeom>
        </p:spPr>
      </p:pic>
      <p:sp>
        <p:nvSpPr>
          <p:cNvPr id="178" name="TextBox 177">
            <a:extLst>
              <a:ext uri="{FF2B5EF4-FFF2-40B4-BE49-F238E27FC236}">
                <a16:creationId xmlns:a16="http://schemas.microsoft.com/office/drawing/2014/main" id="{A74D7AB5-1F52-4456-8824-C1A0C4962297}"/>
              </a:ext>
            </a:extLst>
          </p:cNvPr>
          <p:cNvSpPr txBox="1"/>
          <p:nvPr/>
        </p:nvSpPr>
        <p:spPr>
          <a:xfrm>
            <a:off x="5081149" y="1275277"/>
            <a:ext cx="4746929" cy="1009507"/>
          </a:xfrm>
          <a:prstGeom prst="rect">
            <a:avLst/>
          </a:prstGeom>
          <a:noFill/>
        </p:spPr>
        <p:txBody>
          <a:bodyPr wrap="square" lIns="182880" tIns="146304" rIns="182880" bIns="146304" rtlCol="0">
            <a:spAutoFit/>
          </a:bodyPr>
          <a:lstStyle/>
          <a:p>
            <a:pPr>
              <a:lnSpc>
                <a:spcPct val="90000"/>
              </a:lnSpc>
              <a:spcAft>
                <a:spcPts val="600"/>
              </a:spcAft>
            </a:pPr>
            <a:r>
              <a:rPr lang="en-US" sz="2400" b="1" kern="0" dirty="0">
                <a:solidFill>
                  <a:schemeClr val="bg1"/>
                </a:solidFill>
                <a:latin typeface="+mj-lt"/>
              </a:rPr>
              <a:t>Two-Class Bayes Point Machine</a:t>
            </a:r>
          </a:p>
          <a:p>
            <a:pPr>
              <a:lnSpc>
                <a:spcPct val="90000"/>
              </a:lnSpc>
              <a:spcAft>
                <a:spcPts val="600"/>
              </a:spcAft>
            </a:pPr>
            <a:endParaRPr lang="en-IN" sz="2200" dirty="0" err="1">
              <a:solidFill>
                <a:schemeClr val="bg1"/>
              </a:solidFill>
              <a:latin typeface="+mj-lt"/>
            </a:endParaRPr>
          </a:p>
        </p:txBody>
      </p:sp>
      <p:pic>
        <p:nvPicPr>
          <p:cNvPr id="179" name="Picture 178">
            <a:extLst>
              <a:ext uri="{FF2B5EF4-FFF2-40B4-BE49-F238E27FC236}">
                <a16:creationId xmlns:a16="http://schemas.microsoft.com/office/drawing/2014/main" id="{30ABA39C-DE4B-4B41-9DAF-EFE4A601B63E}"/>
              </a:ext>
            </a:extLst>
          </p:cNvPr>
          <p:cNvPicPr>
            <a:picLocks noChangeAspect="1"/>
          </p:cNvPicPr>
          <p:nvPr/>
        </p:nvPicPr>
        <p:blipFill>
          <a:blip r:embed="rId21"/>
          <a:stretch>
            <a:fillRect/>
          </a:stretch>
        </p:blipFill>
        <p:spPr>
          <a:xfrm>
            <a:off x="4599332" y="1374856"/>
            <a:ext cx="557888" cy="382032"/>
          </a:xfrm>
          <a:prstGeom prst="rect">
            <a:avLst/>
          </a:prstGeom>
        </p:spPr>
      </p:pic>
    </p:spTree>
    <p:extLst>
      <p:ext uri="{BB962C8B-B14F-4D97-AF65-F5344CB8AC3E}">
        <p14:creationId xmlns:p14="http://schemas.microsoft.com/office/powerpoint/2010/main" val="35491101"/>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 name="Text Placeholder 24"/>
          <p:cNvSpPr txBox="1">
            <a:spLocks/>
          </p:cNvSpPr>
          <p:nvPr/>
        </p:nvSpPr>
        <p:spPr>
          <a:xfrm rot="16200000">
            <a:off x="9074433" y="3812874"/>
            <a:ext cx="4048256" cy="1381110"/>
          </a:xfrm>
          <a:prstGeom prst="rect">
            <a:avLst/>
          </a:prstGeom>
          <a:solidFill>
            <a:srgbClr val="F2F2F2"/>
          </a:solidFill>
        </p:spPr>
        <p:txBody>
          <a:bodyPr vert="horz" wrap="square" lIns="149196" tIns="46623" rIns="149196" bIns="46623" rtlCol="0">
            <a:noAutofit/>
          </a:bodyPr>
          <a:lstStyle>
            <a:defPPr>
              <a:defRPr lang="en-US"/>
            </a:defPPr>
            <a:lvl1pPr indent="0" algn="ctr" defTabSz="686047">
              <a:lnSpc>
                <a:spcPct val="90000"/>
              </a:lnSpc>
              <a:spcBef>
                <a:spcPts val="1800"/>
              </a:spcBef>
              <a:buSzPct val="90000"/>
              <a:buFont typeface="Wingdings" pitchFamily="2" charset="2"/>
              <a:buNone/>
              <a:defRPr sz="2400" kern="4000" spc="-100" baseline="0">
                <a:solidFill>
                  <a:schemeClr val="accent3"/>
                </a:solidFill>
                <a:latin typeface="+mj-lt"/>
              </a:defRPr>
            </a:lvl1pPr>
            <a:lvl2pPr marL="0" indent="0" defTabSz="686047">
              <a:lnSpc>
                <a:spcPct val="90000"/>
              </a:lnSpc>
              <a:spcBef>
                <a:spcPts val="100"/>
              </a:spcBef>
              <a:spcAft>
                <a:spcPts val="600"/>
              </a:spcAft>
              <a:buSzPct val="90000"/>
              <a:buFont typeface="Arial" pitchFamily="34" charset="0"/>
              <a:buNone/>
              <a:tabLst>
                <a:tab pos="472868" algn="l"/>
              </a:tabLst>
              <a:defRPr sz="2000"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defRPr>
            </a:lvl2pPr>
            <a:lvl3pPr marL="0" indent="0" defTabSz="686047">
              <a:lnSpc>
                <a:spcPct val="90000"/>
              </a:lnSpc>
              <a:spcBef>
                <a:spcPts val="0"/>
              </a:spcBef>
              <a:spcAft>
                <a:spcPts val="600"/>
              </a:spcAft>
              <a:buSzPct val="90000"/>
              <a:buFont typeface="Arial" pitchFamily="34" charset="0"/>
              <a:buNone/>
              <a:defRPr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defRPr>
            </a:lvl3pPr>
            <a:lvl4pPr marL="0" indent="0" defTabSz="686047">
              <a:lnSpc>
                <a:spcPct val="90000"/>
              </a:lnSpc>
              <a:spcBef>
                <a:spcPts val="0"/>
              </a:spcBef>
              <a:spcAft>
                <a:spcPts val="600"/>
              </a:spcAft>
              <a:buSzPct val="90000"/>
              <a:buFont typeface="Arial" pitchFamily="34" charset="0"/>
              <a:buNone/>
              <a:tabLst>
                <a:tab pos="686074" algn="l"/>
              </a:tabLst>
              <a:defRPr sz="1400"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defRPr>
            </a:lvl4pPr>
            <a:lvl5pPr marL="0" indent="0" defTabSz="686047">
              <a:lnSpc>
                <a:spcPct val="90000"/>
              </a:lnSpc>
              <a:spcBef>
                <a:spcPts val="0"/>
              </a:spcBef>
              <a:spcAft>
                <a:spcPts val="600"/>
              </a:spcAft>
              <a:buSzPct val="90000"/>
              <a:buFont typeface="Arial" pitchFamily="34" charset="0"/>
              <a:buNone/>
              <a:defRPr sz="1400"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defRPr>
            </a:lvl5pPr>
            <a:lvl6pPr marL="1886629" indent="-171512" defTabSz="686047">
              <a:spcBef>
                <a:spcPct val="20000"/>
              </a:spcBef>
              <a:buFont typeface="Arial" pitchFamily="34" charset="0"/>
              <a:buChar char="•"/>
              <a:defRPr sz="1500"/>
            </a:lvl6pPr>
            <a:lvl7pPr marL="2229652" indent="-171512" defTabSz="686047">
              <a:spcBef>
                <a:spcPct val="20000"/>
              </a:spcBef>
              <a:buFont typeface="Arial" pitchFamily="34" charset="0"/>
              <a:buChar char="•"/>
              <a:defRPr sz="1500"/>
            </a:lvl7pPr>
            <a:lvl8pPr marL="2572676" indent="-171512" defTabSz="686047">
              <a:spcBef>
                <a:spcPct val="20000"/>
              </a:spcBef>
              <a:buFont typeface="Arial" pitchFamily="34" charset="0"/>
              <a:buChar char="•"/>
              <a:defRPr sz="1500"/>
            </a:lvl8pPr>
            <a:lvl9pPr marL="2915700" indent="-171512" defTabSz="686047">
              <a:spcBef>
                <a:spcPct val="20000"/>
              </a:spcBef>
              <a:buFont typeface="Arial" pitchFamily="34" charset="0"/>
              <a:buChar char="•"/>
              <a:defRPr sz="1500"/>
            </a:lvl9pPr>
          </a:lstStyle>
          <a:p>
            <a:pPr>
              <a:lnSpc>
                <a:spcPct val="100000"/>
              </a:lnSpc>
              <a:spcBef>
                <a:spcPts val="0"/>
              </a:spcBef>
            </a:pPr>
            <a:endParaRPr lang="en-US" dirty="0">
              <a:solidFill>
                <a:srgbClr val="008272"/>
              </a:solidFill>
            </a:endParaRPr>
          </a:p>
        </p:txBody>
      </p:sp>
      <p:sp>
        <p:nvSpPr>
          <p:cNvPr id="97" name="Text Placeholder 24"/>
          <p:cNvSpPr txBox="1">
            <a:spLocks/>
          </p:cNvSpPr>
          <p:nvPr/>
        </p:nvSpPr>
        <p:spPr>
          <a:xfrm rot="16200000">
            <a:off x="6228659" y="3812874"/>
            <a:ext cx="4048256" cy="1381110"/>
          </a:xfrm>
          <a:prstGeom prst="rect">
            <a:avLst/>
          </a:prstGeom>
          <a:solidFill>
            <a:srgbClr val="F2F2F2"/>
          </a:solidFill>
        </p:spPr>
        <p:txBody>
          <a:bodyPr vert="horz" wrap="square" lIns="149196" tIns="46623" rIns="149196" bIns="46623" rtlCol="0">
            <a:noAutofit/>
          </a:bodyPr>
          <a:lstStyle>
            <a:defPPr>
              <a:defRPr lang="en-US"/>
            </a:defPPr>
            <a:lvl1pPr indent="0" algn="ctr" defTabSz="686047">
              <a:lnSpc>
                <a:spcPct val="90000"/>
              </a:lnSpc>
              <a:spcBef>
                <a:spcPts val="1800"/>
              </a:spcBef>
              <a:buSzPct val="90000"/>
              <a:buFont typeface="Wingdings" pitchFamily="2" charset="2"/>
              <a:buNone/>
              <a:defRPr sz="2400" kern="4000" spc="-100" baseline="0">
                <a:solidFill>
                  <a:schemeClr val="accent3"/>
                </a:solidFill>
                <a:latin typeface="+mj-lt"/>
              </a:defRPr>
            </a:lvl1pPr>
            <a:lvl2pPr marL="0" indent="0" defTabSz="686047">
              <a:lnSpc>
                <a:spcPct val="90000"/>
              </a:lnSpc>
              <a:spcBef>
                <a:spcPts val="100"/>
              </a:spcBef>
              <a:spcAft>
                <a:spcPts val="600"/>
              </a:spcAft>
              <a:buSzPct val="90000"/>
              <a:buFont typeface="Arial" pitchFamily="34" charset="0"/>
              <a:buNone/>
              <a:tabLst>
                <a:tab pos="472868" algn="l"/>
              </a:tabLst>
              <a:defRPr sz="2000"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defRPr>
            </a:lvl2pPr>
            <a:lvl3pPr marL="0" indent="0" defTabSz="686047">
              <a:lnSpc>
                <a:spcPct val="90000"/>
              </a:lnSpc>
              <a:spcBef>
                <a:spcPts val="0"/>
              </a:spcBef>
              <a:spcAft>
                <a:spcPts val="600"/>
              </a:spcAft>
              <a:buSzPct val="90000"/>
              <a:buFont typeface="Arial" pitchFamily="34" charset="0"/>
              <a:buNone/>
              <a:defRPr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defRPr>
            </a:lvl3pPr>
            <a:lvl4pPr marL="0" indent="0" defTabSz="686047">
              <a:lnSpc>
                <a:spcPct val="90000"/>
              </a:lnSpc>
              <a:spcBef>
                <a:spcPts val="0"/>
              </a:spcBef>
              <a:spcAft>
                <a:spcPts val="600"/>
              </a:spcAft>
              <a:buSzPct val="90000"/>
              <a:buFont typeface="Arial" pitchFamily="34" charset="0"/>
              <a:buNone/>
              <a:tabLst>
                <a:tab pos="686074" algn="l"/>
              </a:tabLst>
              <a:defRPr sz="1400"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defRPr>
            </a:lvl4pPr>
            <a:lvl5pPr marL="0" indent="0" defTabSz="686047">
              <a:lnSpc>
                <a:spcPct val="90000"/>
              </a:lnSpc>
              <a:spcBef>
                <a:spcPts val="0"/>
              </a:spcBef>
              <a:spcAft>
                <a:spcPts val="600"/>
              </a:spcAft>
              <a:buSzPct val="90000"/>
              <a:buFont typeface="Arial" pitchFamily="34" charset="0"/>
              <a:buNone/>
              <a:defRPr sz="1400"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defRPr>
            </a:lvl5pPr>
            <a:lvl6pPr marL="1886629" indent="-171512" defTabSz="686047">
              <a:spcBef>
                <a:spcPct val="20000"/>
              </a:spcBef>
              <a:buFont typeface="Arial" pitchFamily="34" charset="0"/>
              <a:buChar char="•"/>
              <a:defRPr sz="1500"/>
            </a:lvl6pPr>
            <a:lvl7pPr marL="2229652" indent="-171512" defTabSz="686047">
              <a:spcBef>
                <a:spcPct val="20000"/>
              </a:spcBef>
              <a:buFont typeface="Arial" pitchFamily="34" charset="0"/>
              <a:buChar char="•"/>
              <a:defRPr sz="1500"/>
            </a:lvl7pPr>
            <a:lvl8pPr marL="2572676" indent="-171512" defTabSz="686047">
              <a:spcBef>
                <a:spcPct val="20000"/>
              </a:spcBef>
              <a:buFont typeface="Arial" pitchFamily="34" charset="0"/>
              <a:buChar char="•"/>
              <a:defRPr sz="1500"/>
            </a:lvl8pPr>
            <a:lvl9pPr marL="2915700" indent="-171512" defTabSz="686047">
              <a:spcBef>
                <a:spcPct val="20000"/>
              </a:spcBef>
              <a:buFont typeface="Arial" pitchFamily="34" charset="0"/>
              <a:buChar char="•"/>
              <a:defRPr sz="1500"/>
            </a:lvl9pPr>
          </a:lstStyle>
          <a:p>
            <a:pPr>
              <a:lnSpc>
                <a:spcPct val="100000"/>
              </a:lnSpc>
              <a:spcBef>
                <a:spcPts val="0"/>
              </a:spcBef>
            </a:pPr>
            <a:endParaRPr lang="en-US" dirty="0">
              <a:solidFill>
                <a:srgbClr val="008272"/>
              </a:solidFill>
            </a:endParaRPr>
          </a:p>
        </p:txBody>
      </p:sp>
      <p:sp>
        <p:nvSpPr>
          <p:cNvPr id="98" name="Text Placeholder 24"/>
          <p:cNvSpPr txBox="1">
            <a:spLocks/>
          </p:cNvSpPr>
          <p:nvPr/>
        </p:nvSpPr>
        <p:spPr>
          <a:xfrm rot="16200000">
            <a:off x="7651645" y="3812874"/>
            <a:ext cx="4048256" cy="1381110"/>
          </a:xfrm>
          <a:prstGeom prst="rect">
            <a:avLst/>
          </a:prstGeom>
          <a:solidFill>
            <a:schemeClr val="bg1">
              <a:lumMod val="85000"/>
            </a:schemeClr>
          </a:solidFill>
        </p:spPr>
        <p:txBody>
          <a:bodyPr vert="horz" wrap="square" lIns="149196" tIns="46623" rIns="149196" bIns="46623" rtlCol="0">
            <a:noAutofit/>
          </a:bodyPr>
          <a:lstStyle>
            <a:defPPr>
              <a:defRPr lang="en-US"/>
            </a:defPPr>
            <a:lvl1pPr indent="0" algn="ctr" defTabSz="686047">
              <a:lnSpc>
                <a:spcPct val="90000"/>
              </a:lnSpc>
              <a:spcBef>
                <a:spcPts val="1800"/>
              </a:spcBef>
              <a:buSzPct val="90000"/>
              <a:buFont typeface="Wingdings" pitchFamily="2" charset="2"/>
              <a:buNone/>
              <a:defRPr sz="2400" kern="4000" spc="-100" baseline="0">
                <a:solidFill>
                  <a:schemeClr val="accent3"/>
                </a:solidFill>
                <a:latin typeface="+mj-lt"/>
              </a:defRPr>
            </a:lvl1pPr>
            <a:lvl2pPr marL="0" indent="0" defTabSz="686047">
              <a:lnSpc>
                <a:spcPct val="90000"/>
              </a:lnSpc>
              <a:spcBef>
                <a:spcPts val="100"/>
              </a:spcBef>
              <a:spcAft>
                <a:spcPts val="600"/>
              </a:spcAft>
              <a:buSzPct val="90000"/>
              <a:buFont typeface="Arial" pitchFamily="34" charset="0"/>
              <a:buNone/>
              <a:tabLst>
                <a:tab pos="472868" algn="l"/>
              </a:tabLst>
              <a:defRPr sz="2000"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defRPr>
            </a:lvl2pPr>
            <a:lvl3pPr marL="0" indent="0" defTabSz="686047">
              <a:lnSpc>
                <a:spcPct val="90000"/>
              </a:lnSpc>
              <a:spcBef>
                <a:spcPts val="0"/>
              </a:spcBef>
              <a:spcAft>
                <a:spcPts val="600"/>
              </a:spcAft>
              <a:buSzPct val="90000"/>
              <a:buFont typeface="Arial" pitchFamily="34" charset="0"/>
              <a:buNone/>
              <a:defRPr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defRPr>
            </a:lvl3pPr>
            <a:lvl4pPr marL="0" indent="0" defTabSz="686047">
              <a:lnSpc>
                <a:spcPct val="90000"/>
              </a:lnSpc>
              <a:spcBef>
                <a:spcPts val="0"/>
              </a:spcBef>
              <a:spcAft>
                <a:spcPts val="600"/>
              </a:spcAft>
              <a:buSzPct val="90000"/>
              <a:buFont typeface="Arial" pitchFamily="34" charset="0"/>
              <a:buNone/>
              <a:tabLst>
                <a:tab pos="686074" algn="l"/>
              </a:tabLst>
              <a:defRPr sz="1400"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defRPr>
            </a:lvl4pPr>
            <a:lvl5pPr marL="0" indent="0" defTabSz="686047">
              <a:lnSpc>
                <a:spcPct val="90000"/>
              </a:lnSpc>
              <a:spcBef>
                <a:spcPts val="0"/>
              </a:spcBef>
              <a:spcAft>
                <a:spcPts val="600"/>
              </a:spcAft>
              <a:buSzPct val="90000"/>
              <a:buFont typeface="Arial" pitchFamily="34" charset="0"/>
              <a:buNone/>
              <a:defRPr sz="1400"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defRPr>
            </a:lvl5pPr>
            <a:lvl6pPr marL="1886629" indent="-171512" defTabSz="686047">
              <a:spcBef>
                <a:spcPct val="20000"/>
              </a:spcBef>
              <a:buFont typeface="Arial" pitchFamily="34" charset="0"/>
              <a:buChar char="•"/>
              <a:defRPr sz="1500"/>
            </a:lvl6pPr>
            <a:lvl7pPr marL="2229652" indent="-171512" defTabSz="686047">
              <a:spcBef>
                <a:spcPct val="20000"/>
              </a:spcBef>
              <a:buFont typeface="Arial" pitchFamily="34" charset="0"/>
              <a:buChar char="•"/>
              <a:defRPr sz="1500"/>
            </a:lvl7pPr>
            <a:lvl8pPr marL="2572676" indent="-171512" defTabSz="686047">
              <a:spcBef>
                <a:spcPct val="20000"/>
              </a:spcBef>
              <a:buFont typeface="Arial" pitchFamily="34" charset="0"/>
              <a:buChar char="•"/>
              <a:defRPr sz="1500"/>
            </a:lvl8pPr>
            <a:lvl9pPr marL="2915700" indent="-171512" defTabSz="686047">
              <a:spcBef>
                <a:spcPct val="20000"/>
              </a:spcBef>
              <a:buFont typeface="Arial" pitchFamily="34" charset="0"/>
              <a:buChar char="•"/>
              <a:defRPr sz="1500"/>
            </a:lvl9pPr>
          </a:lstStyle>
          <a:p>
            <a:pPr>
              <a:lnSpc>
                <a:spcPct val="100000"/>
              </a:lnSpc>
              <a:spcBef>
                <a:spcPts val="0"/>
              </a:spcBef>
            </a:pPr>
            <a:endParaRPr lang="en-US" dirty="0">
              <a:solidFill>
                <a:srgbClr val="008272"/>
              </a:solidFill>
            </a:endParaRPr>
          </a:p>
        </p:txBody>
      </p:sp>
      <p:sp>
        <p:nvSpPr>
          <p:cNvPr id="95" name="Text Placeholder 24"/>
          <p:cNvSpPr txBox="1">
            <a:spLocks/>
          </p:cNvSpPr>
          <p:nvPr/>
        </p:nvSpPr>
        <p:spPr>
          <a:xfrm rot="16200000">
            <a:off x="4805871" y="3812874"/>
            <a:ext cx="4048256" cy="1381110"/>
          </a:xfrm>
          <a:prstGeom prst="rect">
            <a:avLst/>
          </a:prstGeom>
          <a:solidFill>
            <a:schemeClr val="bg1">
              <a:lumMod val="85000"/>
            </a:schemeClr>
          </a:solidFill>
        </p:spPr>
        <p:txBody>
          <a:bodyPr vert="horz" wrap="square" lIns="149196" tIns="46623" rIns="149196" bIns="46623" rtlCol="0">
            <a:noAutofit/>
          </a:bodyPr>
          <a:lstStyle>
            <a:defPPr>
              <a:defRPr lang="en-US"/>
            </a:defPPr>
            <a:lvl1pPr indent="0" algn="ctr" defTabSz="686047">
              <a:lnSpc>
                <a:spcPct val="90000"/>
              </a:lnSpc>
              <a:spcBef>
                <a:spcPts val="1800"/>
              </a:spcBef>
              <a:buSzPct val="90000"/>
              <a:buFont typeface="Wingdings" pitchFamily="2" charset="2"/>
              <a:buNone/>
              <a:defRPr sz="2400" kern="4000" spc="-100" baseline="0">
                <a:solidFill>
                  <a:schemeClr val="accent3"/>
                </a:solidFill>
                <a:latin typeface="+mj-lt"/>
              </a:defRPr>
            </a:lvl1pPr>
            <a:lvl2pPr marL="0" indent="0" defTabSz="686047">
              <a:lnSpc>
                <a:spcPct val="90000"/>
              </a:lnSpc>
              <a:spcBef>
                <a:spcPts val="100"/>
              </a:spcBef>
              <a:spcAft>
                <a:spcPts val="600"/>
              </a:spcAft>
              <a:buSzPct val="90000"/>
              <a:buFont typeface="Arial" pitchFamily="34" charset="0"/>
              <a:buNone/>
              <a:tabLst>
                <a:tab pos="472868" algn="l"/>
              </a:tabLst>
              <a:defRPr sz="2000"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defRPr>
            </a:lvl2pPr>
            <a:lvl3pPr marL="0" indent="0" defTabSz="686047">
              <a:lnSpc>
                <a:spcPct val="90000"/>
              </a:lnSpc>
              <a:spcBef>
                <a:spcPts val="0"/>
              </a:spcBef>
              <a:spcAft>
                <a:spcPts val="600"/>
              </a:spcAft>
              <a:buSzPct val="90000"/>
              <a:buFont typeface="Arial" pitchFamily="34" charset="0"/>
              <a:buNone/>
              <a:defRPr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defRPr>
            </a:lvl3pPr>
            <a:lvl4pPr marL="0" indent="0" defTabSz="686047">
              <a:lnSpc>
                <a:spcPct val="90000"/>
              </a:lnSpc>
              <a:spcBef>
                <a:spcPts val="0"/>
              </a:spcBef>
              <a:spcAft>
                <a:spcPts val="600"/>
              </a:spcAft>
              <a:buSzPct val="90000"/>
              <a:buFont typeface="Arial" pitchFamily="34" charset="0"/>
              <a:buNone/>
              <a:tabLst>
                <a:tab pos="686074" algn="l"/>
              </a:tabLst>
              <a:defRPr sz="1400"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defRPr>
            </a:lvl4pPr>
            <a:lvl5pPr marL="0" indent="0" defTabSz="686047">
              <a:lnSpc>
                <a:spcPct val="90000"/>
              </a:lnSpc>
              <a:spcBef>
                <a:spcPts val="0"/>
              </a:spcBef>
              <a:spcAft>
                <a:spcPts val="600"/>
              </a:spcAft>
              <a:buSzPct val="90000"/>
              <a:buFont typeface="Arial" pitchFamily="34" charset="0"/>
              <a:buNone/>
              <a:defRPr sz="1400"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defRPr>
            </a:lvl5pPr>
            <a:lvl6pPr marL="1886629" indent="-171512" defTabSz="686047">
              <a:spcBef>
                <a:spcPct val="20000"/>
              </a:spcBef>
              <a:buFont typeface="Arial" pitchFamily="34" charset="0"/>
              <a:buChar char="•"/>
              <a:defRPr sz="1500"/>
            </a:lvl6pPr>
            <a:lvl7pPr marL="2229652" indent="-171512" defTabSz="686047">
              <a:spcBef>
                <a:spcPct val="20000"/>
              </a:spcBef>
              <a:buFont typeface="Arial" pitchFamily="34" charset="0"/>
              <a:buChar char="•"/>
              <a:defRPr sz="1500"/>
            </a:lvl7pPr>
            <a:lvl8pPr marL="2572676" indent="-171512" defTabSz="686047">
              <a:spcBef>
                <a:spcPct val="20000"/>
              </a:spcBef>
              <a:buFont typeface="Arial" pitchFamily="34" charset="0"/>
              <a:buChar char="•"/>
              <a:defRPr sz="1500"/>
            </a:lvl8pPr>
            <a:lvl9pPr marL="2915700" indent="-171512" defTabSz="686047">
              <a:spcBef>
                <a:spcPct val="20000"/>
              </a:spcBef>
              <a:buFont typeface="Arial" pitchFamily="34" charset="0"/>
              <a:buChar char="•"/>
              <a:defRPr sz="1500"/>
            </a:lvl9pPr>
          </a:lstStyle>
          <a:p>
            <a:pPr>
              <a:lnSpc>
                <a:spcPct val="100000"/>
              </a:lnSpc>
              <a:spcBef>
                <a:spcPts val="0"/>
              </a:spcBef>
            </a:pPr>
            <a:endParaRPr lang="en-US" dirty="0">
              <a:solidFill>
                <a:srgbClr val="008272"/>
              </a:solidFill>
            </a:endParaRPr>
          </a:p>
        </p:txBody>
      </p:sp>
      <p:sp>
        <p:nvSpPr>
          <p:cNvPr id="94" name="Text Placeholder 24"/>
          <p:cNvSpPr txBox="1">
            <a:spLocks/>
          </p:cNvSpPr>
          <p:nvPr/>
        </p:nvSpPr>
        <p:spPr>
          <a:xfrm rot="16200000">
            <a:off x="3383084" y="3812874"/>
            <a:ext cx="4048256" cy="1381110"/>
          </a:xfrm>
          <a:prstGeom prst="rect">
            <a:avLst/>
          </a:prstGeom>
          <a:solidFill>
            <a:srgbClr val="F2F2F2"/>
          </a:solidFill>
        </p:spPr>
        <p:txBody>
          <a:bodyPr vert="horz" wrap="square" lIns="149196" tIns="46623" rIns="149196" bIns="46623" rtlCol="0">
            <a:noAutofit/>
          </a:bodyPr>
          <a:lstStyle>
            <a:defPPr>
              <a:defRPr lang="en-US"/>
            </a:defPPr>
            <a:lvl1pPr indent="0" algn="ctr" defTabSz="686047">
              <a:lnSpc>
                <a:spcPct val="90000"/>
              </a:lnSpc>
              <a:spcBef>
                <a:spcPts val="1800"/>
              </a:spcBef>
              <a:buSzPct val="90000"/>
              <a:buFont typeface="Wingdings" pitchFamily="2" charset="2"/>
              <a:buNone/>
              <a:defRPr sz="2400" kern="4000" spc="-100" baseline="0">
                <a:solidFill>
                  <a:schemeClr val="accent3"/>
                </a:solidFill>
                <a:latin typeface="+mj-lt"/>
              </a:defRPr>
            </a:lvl1pPr>
            <a:lvl2pPr marL="0" indent="0" defTabSz="686047">
              <a:lnSpc>
                <a:spcPct val="90000"/>
              </a:lnSpc>
              <a:spcBef>
                <a:spcPts val="100"/>
              </a:spcBef>
              <a:spcAft>
                <a:spcPts val="600"/>
              </a:spcAft>
              <a:buSzPct val="90000"/>
              <a:buFont typeface="Arial" pitchFamily="34" charset="0"/>
              <a:buNone/>
              <a:tabLst>
                <a:tab pos="472868" algn="l"/>
              </a:tabLst>
              <a:defRPr sz="2000"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defRPr>
            </a:lvl2pPr>
            <a:lvl3pPr marL="0" indent="0" defTabSz="686047">
              <a:lnSpc>
                <a:spcPct val="90000"/>
              </a:lnSpc>
              <a:spcBef>
                <a:spcPts val="0"/>
              </a:spcBef>
              <a:spcAft>
                <a:spcPts val="600"/>
              </a:spcAft>
              <a:buSzPct val="90000"/>
              <a:buFont typeface="Arial" pitchFamily="34" charset="0"/>
              <a:buNone/>
              <a:defRPr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defRPr>
            </a:lvl3pPr>
            <a:lvl4pPr marL="0" indent="0" defTabSz="686047">
              <a:lnSpc>
                <a:spcPct val="90000"/>
              </a:lnSpc>
              <a:spcBef>
                <a:spcPts val="0"/>
              </a:spcBef>
              <a:spcAft>
                <a:spcPts val="600"/>
              </a:spcAft>
              <a:buSzPct val="90000"/>
              <a:buFont typeface="Arial" pitchFamily="34" charset="0"/>
              <a:buNone/>
              <a:tabLst>
                <a:tab pos="686074" algn="l"/>
              </a:tabLst>
              <a:defRPr sz="1400"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defRPr>
            </a:lvl4pPr>
            <a:lvl5pPr marL="0" indent="0" defTabSz="686047">
              <a:lnSpc>
                <a:spcPct val="90000"/>
              </a:lnSpc>
              <a:spcBef>
                <a:spcPts val="0"/>
              </a:spcBef>
              <a:spcAft>
                <a:spcPts val="600"/>
              </a:spcAft>
              <a:buSzPct val="90000"/>
              <a:buFont typeface="Arial" pitchFamily="34" charset="0"/>
              <a:buNone/>
              <a:defRPr sz="1400"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defRPr>
            </a:lvl5pPr>
            <a:lvl6pPr marL="1886629" indent="-171512" defTabSz="686047">
              <a:spcBef>
                <a:spcPct val="20000"/>
              </a:spcBef>
              <a:buFont typeface="Arial" pitchFamily="34" charset="0"/>
              <a:buChar char="•"/>
              <a:defRPr sz="1500"/>
            </a:lvl6pPr>
            <a:lvl7pPr marL="2229652" indent="-171512" defTabSz="686047">
              <a:spcBef>
                <a:spcPct val="20000"/>
              </a:spcBef>
              <a:buFont typeface="Arial" pitchFamily="34" charset="0"/>
              <a:buChar char="•"/>
              <a:defRPr sz="1500"/>
            </a:lvl7pPr>
            <a:lvl8pPr marL="2572676" indent="-171512" defTabSz="686047">
              <a:spcBef>
                <a:spcPct val="20000"/>
              </a:spcBef>
              <a:buFont typeface="Arial" pitchFamily="34" charset="0"/>
              <a:buChar char="•"/>
              <a:defRPr sz="1500"/>
            </a:lvl8pPr>
            <a:lvl9pPr marL="2915700" indent="-171512" defTabSz="686047">
              <a:spcBef>
                <a:spcPct val="20000"/>
              </a:spcBef>
              <a:buFont typeface="Arial" pitchFamily="34" charset="0"/>
              <a:buChar char="•"/>
              <a:defRPr sz="1500"/>
            </a:lvl9pPr>
          </a:lstStyle>
          <a:p>
            <a:pPr>
              <a:lnSpc>
                <a:spcPct val="100000"/>
              </a:lnSpc>
              <a:spcBef>
                <a:spcPts val="0"/>
              </a:spcBef>
            </a:pPr>
            <a:endParaRPr lang="en-US" dirty="0">
              <a:solidFill>
                <a:srgbClr val="008272"/>
              </a:solidFill>
            </a:endParaRPr>
          </a:p>
        </p:txBody>
      </p:sp>
      <p:sp>
        <p:nvSpPr>
          <p:cNvPr id="92" name="Text Placeholder 24"/>
          <p:cNvSpPr txBox="1">
            <a:spLocks/>
          </p:cNvSpPr>
          <p:nvPr/>
        </p:nvSpPr>
        <p:spPr>
          <a:xfrm rot="16200000">
            <a:off x="537309" y="3812874"/>
            <a:ext cx="4048256" cy="1381110"/>
          </a:xfrm>
          <a:prstGeom prst="rect">
            <a:avLst/>
          </a:prstGeom>
          <a:solidFill>
            <a:srgbClr val="F2F2F2"/>
          </a:solidFill>
        </p:spPr>
        <p:txBody>
          <a:bodyPr vert="horz" wrap="square" lIns="149196" tIns="46623" rIns="149196" bIns="46623" rtlCol="0">
            <a:noAutofit/>
          </a:bodyPr>
          <a:lstStyle>
            <a:defPPr>
              <a:defRPr lang="en-US"/>
            </a:defPPr>
            <a:lvl1pPr indent="0" algn="ctr" defTabSz="686047">
              <a:lnSpc>
                <a:spcPct val="90000"/>
              </a:lnSpc>
              <a:spcBef>
                <a:spcPts val="1800"/>
              </a:spcBef>
              <a:buSzPct val="90000"/>
              <a:buFont typeface="Wingdings" pitchFamily="2" charset="2"/>
              <a:buNone/>
              <a:defRPr sz="2400" kern="4000" spc="-100" baseline="0">
                <a:solidFill>
                  <a:schemeClr val="accent3"/>
                </a:solidFill>
                <a:latin typeface="+mj-lt"/>
              </a:defRPr>
            </a:lvl1pPr>
            <a:lvl2pPr marL="0" indent="0" defTabSz="686047">
              <a:lnSpc>
                <a:spcPct val="90000"/>
              </a:lnSpc>
              <a:spcBef>
                <a:spcPts val="100"/>
              </a:spcBef>
              <a:spcAft>
                <a:spcPts val="600"/>
              </a:spcAft>
              <a:buSzPct val="90000"/>
              <a:buFont typeface="Arial" pitchFamily="34" charset="0"/>
              <a:buNone/>
              <a:tabLst>
                <a:tab pos="472868" algn="l"/>
              </a:tabLst>
              <a:defRPr sz="2000"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defRPr>
            </a:lvl2pPr>
            <a:lvl3pPr marL="0" indent="0" defTabSz="686047">
              <a:lnSpc>
                <a:spcPct val="90000"/>
              </a:lnSpc>
              <a:spcBef>
                <a:spcPts val="0"/>
              </a:spcBef>
              <a:spcAft>
                <a:spcPts val="600"/>
              </a:spcAft>
              <a:buSzPct val="90000"/>
              <a:buFont typeface="Arial" pitchFamily="34" charset="0"/>
              <a:buNone/>
              <a:defRPr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defRPr>
            </a:lvl3pPr>
            <a:lvl4pPr marL="0" indent="0" defTabSz="686047">
              <a:lnSpc>
                <a:spcPct val="90000"/>
              </a:lnSpc>
              <a:spcBef>
                <a:spcPts val="0"/>
              </a:spcBef>
              <a:spcAft>
                <a:spcPts val="600"/>
              </a:spcAft>
              <a:buSzPct val="90000"/>
              <a:buFont typeface="Arial" pitchFamily="34" charset="0"/>
              <a:buNone/>
              <a:tabLst>
                <a:tab pos="686074" algn="l"/>
              </a:tabLst>
              <a:defRPr sz="1400"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defRPr>
            </a:lvl4pPr>
            <a:lvl5pPr marL="0" indent="0" defTabSz="686047">
              <a:lnSpc>
                <a:spcPct val="90000"/>
              </a:lnSpc>
              <a:spcBef>
                <a:spcPts val="0"/>
              </a:spcBef>
              <a:spcAft>
                <a:spcPts val="600"/>
              </a:spcAft>
              <a:buSzPct val="90000"/>
              <a:buFont typeface="Arial" pitchFamily="34" charset="0"/>
              <a:buNone/>
              <a:defRPr sz="1400"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defRPr>
            </a:lvl5pPr>
            <a:lvl6pPr marL="1886629" indent="-171512" defTabSz="686047">
              <a:spcBef>
                <a:spcPct val="20000"/>
              </a:spcBef>
              <a:buFont typeface="Arial" pitchFamily="34" charset="0"/>
              <a:buChar char="•"/>
              <a:defRPr sz="1500"/>
            </a:lvl6pPr>
            <a:lvl7pPr marL="2229652" indent="-171512" defTabSz="686047">
              <a:spcBef>
                <a:spcPct val="20000"/>
              </a:spcBef>
              <a:buFont typeface="Arial" pitchFamily="34" charset="0"/>
              <a:buChar char="•"/>
              <a:defRPr sz="1500"/>
            </a:lvl7pPr>
            <a:lvl8pPr marL="2572676" indent="-171512" defTabSz="686047">
              <a:spcBef>
                <a:spcPct val="20000"/>
              </a:spcBef>
              <a:buFont typeface="Arial" pitchFamily="34" charset="0"/>
              <a:buChar char="•"/>
              <a:defRPr sz="1500"/>
            </a:lvl8pPr>
            <a:lvl9pPr marL="2915700" indent="-171512" defTabSz="686047">
              <a:spcBef>
                <a:spcPct val="20000"/>
              </a:spcBef>
              <a:buFont typeface="Arial" pitchFamily="34" charset="0"/>
              <a:buChar char="•"/>
              <a:defRPr sz="1500"/>
            </a:lvl9pPr>
          </a:lstStyle>
          <a:p>
            <a:pPr>
              <a:lnSpc>
                <a:spcPct val="100000"/>
              </a:lnSpc>
              <a:spcBef>
                <a:spcPts val="0"/>
              </a:spcBef>
            </a:pPr>
            <a:endParaRPr lang="en-US" dirty="0">
              <a:solidFill>
                <a:srgbClr val="008272"/>
              </a:solidFill>
            </a:endParaRPr>
          </a:p>
        </p:txBody>
      </p:sp>
      <p:sp>
        <p:nvSpPr>
          <p:cNvPr id="57" name="Title 1"/>
          <p:cNvSpPr txBox="1">
            <a:spLocks/>
          </p:cNvSpPr>
          <p:nvPr/>
        </p:nvSpPr>
        <p:spPr>
          <a:xfrm>
            <a:off x="275147" y="297342"/>
            <a:ext cx="11887877" cy="917445"/>
          </a:xfrm>
          <a:prstGeom prst="rect">
            <a:avLst/>
          </a:prstGeom>
        </p:spPr>
        <p:txBody>
          <a:bodyPr vert="horz" wrap="square" lIns="146284" tIns="91427" rIns="146284" bIns="91427" rtlCol="0" anchor="t">
            <a:noAutofit/>
          </a:bodyPr>
          <a:lstStyle>
            <a:lvl1pPr algn="l" defTabSz="932563" rtl="0" eaLnBrk="1" latinLnBrk="0" hangingPunct="1">
              <a:lnSpc>
                <a:spcPct val="90000"/>
              </a:lnSpc>
              <a:spcBef>
                <a:spcPct val="0"/>
              </a:spcBef>
              <a:buNone/>
              <a:defRPr lang="en-US" sz="4799" b="0" kern="1200" cap="none" spc="-102" baseline="0">
                <a:ln w="3175">
                  <a:noFill/>
                </a:ln>
                <a:gradFill>
                  <a:gsLst>
                    <a:gs pos="1250">
                      <a:schemeClr val="accent2"/>
                    </a:gs>
                    <a:gs pos="100000">
                      <a:schemeClr val="accent2"/>
                    </a:gs>
                  </a:gsLst>
                  <a:lin ang="5400000" scaled="0"/>
                </a:gradFill>
                <a:effectLst/>
                <a:latin typeface="+mj-lt"/>
                <a:ea typeface="+mn-ea"/>
                <a:cs typeface="Segoe UI" pitchFamily="34" charset="0"/>
              </a:defRPr>
            </a:lvl1pPr>
          </a:lstStyle>
          <a:p>
            <a:r>
              <a:rPr lang="en-US" sz="4400" dirty="0">
                <a:solidFill>
                  <a:srgbClr val="42424E"/>
                </a:solidFill>
                <a:latin typeface="Segoe UI Light" panose="020B0502040204020203" pitchFamily="34" charset="0"/>
                <a:cs typeface="Segoe UI Light" panose="020B0502040204020203" pitchFamily="34" charset="0"/>
              </a:rPr>
              <a:t>Build on the expertise you already have</a:t>
            </a:r>
          </a:p>
        </p:txBody>
      </p:sp>
      <p:sp>
        <p:nvSpPr>
          <p:cNvPr id="93" name="Text Placeholder 24"/>
          <p:cNvSpPr txBox="1">
            <a:spLocks/>
          </p:cNvSpPr>
          <p:nvPr/>
        </p:nvSpPr>
        <p:spPr>
          <a:xfrm rot="16200000">
            <a:off x="1960296" y="3812874"/>
            <a:ext cx="4048256" cy="1381110"/>
          </a:xfrm>
          <a:prstGeom prst="rect">
            <a:avLst/>
          </a:prstGeom>
          <a:solidFill>
            <a:schemeClr val="bg1">
              <a:lumMod val="85000"/>
            </a:schemeClr>
          </a:solidFill>
        </p:spPr>
        <p:txBody>
          <a:bodyPr vert="horz" wrap="square" lIns="149196" tIns="46623" rIns="149196" bIns="46623" rtlCol="0">
            <a:noAutofit/>
          </a:bodyPr>
          <a:lstStyle>
            <a:defPPr>
              <a:defRPr lang="en-US"/>
            </a:defPPr>
            <a:lvl1pPr indent="0" algn="ctr" defTabSz="686047">
              <a:lnSpc>
                <a:spcPct val="90000"/>
              </a:lnSpc>
              <a:spcBef>
                <a:spcPts val="1800"/>
              </a:spcBef>
              <a:buSzPct val="90000"/>
              <a:buFont typeface="Wingdings" pitchFamily="2" charset="2"/>
              <a:buNone/>
              <a:defRPr sz="2400" kern="4000" spc="-100" baseline="0">
                <a:solidFill>
                  <a:schemeClr val="accent3"/>
                </a:solidFill>
                <a:latin typeface="+mj-lt"/>
              </a:defRPr>
            </a:lvl1pPr>
            <a:lvl2pPr marL="0" indent="0" defTabSz="686047">
              <a:lnSpc>
                <a:spcPct val="90000"/>
              </a:lnSpc>
              <a:spcBef>
                <a:spcPts val="100"/>
              </a:spcBef>
              <a:spcAft>
                <a:spcPts val="600"/>
              </a:spcAft>
              <a:buSzPct val="90000"/>
              <a:buFont typeface="Arial" pitchFamily="34" charset="0"/>
              <a:buNone/>
              <a:tabLst>
                <a:tab pos="472868" algn="l"/>
              </a:tabLst>
              <a:defRPr sz="2000"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defRPr>
            </a:lvl2pPr>
            <a:lvl3pPr marL="0" indent="0" defTabSz="686047">
              <a:lnSpc>
                <a:spcPct val="90000"/>
              </a:lnSpc>
              <a:spcBef>
                <a:spcPts val="0"/>
              </a:spcBef>
              <a:spcAft>
                <a:spcPts val="600"/>
              </a:spcAft>
              <a:buSzPct val="90000"/>
              <a:buFont typeface="Arial" pitchFamily="34" charset="0"/>
              <a:buNone/>
              <a:defRPr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defRPr>
            </a:lvl3pPr>
            <a:lvl4pPr marL="0" indent="0" defTabSz="686047">
              <a:lnSpc>
                <a:spcPct val="90000"/>
              </a:lnSpc>
              <a:spcBef>
                <a:spcPts val="0"/>
              </a:spcBef>
              <a:spcAft>
                <a:spcPts val="600"/>
              </a:spcAft>
              <a:buSzPct val="90000"/>
              <a:buFont typeface="Arial" pitchFamily="34" charset="0"/>
              <a:buNone/>
              <a:tabLst>
                <a:tab pos="686074" algn="l"/>
              </a:tabLst>
              <a:defRPr sz="1400"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defRPr>
            </a:lvl4pPr>
            <a:lvl5pPr marL="0" indent="0" defTabSz="686047">
              <a:lnSpc>
                <a:spcPct val="90000"/>
              </a:lnSpc>
              <a:spcBef>
                <a:spcPts val="0"/>
              </a:spcBef>
              <a:spcAft>
                <a:spcPts val="600"/>
              </a:spcAft>
              <a:buSzPct val="90000"/>
              <a:buFont typeface="Arial" pitchFamily="34" charset="0"/>
              <a:buNone/>
              <a:defRPr sz="1400"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defRPr>
            </a:lvl5pPr>
            <a:lvl6pPr marL="1886629" indent="-171512" defTabSz="686047">
              <a:spcBef>
                <a:spcPct val="20000"/>
              </a:spcBef>
              <a:buFont typeface="Arial" pitchFamily="34" charset="0"/>
              <a:buChar char="•"/>
              <a:defRPr sz="1500"/>
            </a:lvl6pPr>
            <a:lvl7pPr marL="2229652" indent="-171512" defTabSz="686047">
              <a:spcBef>
                <a:spcPct val="20000"/>
              </a:spcBef>
              <a:buFont typeface="Arial" pitchFamily="34" charset="0"/>
              <a:buChar char="•"/>
              <a:defRPr sz="1500"/>
            </a:lvl7pPr>
            <a:lvl8pPr marL="2572676" indent="-171512" defTabSz="686047">
              <a:spcBef>
                <a:spcPct val="20000"/>
              </a:spcBef>
              <a:buFont typeface="Arial" pitchFamily="34" charset="0"/>
              <a:buChar char="•"/>
              <a:defRPr sz="1500"/>
            </a:lvl8pPr>
            <a:lvl9pPr marL="2915700" indent="-171512" defTabSz="686047">
              <a:spcBef>
                <a:spcPct val="20000"/>
              </a:spcBef>
              <a:buFont typeface="Arial" pitchFamily="34" charset="0"/>
              <a:buChar char="•"/>
              <a:defRPr sz="1500"/>
            </a:lvl9pPr>
          </a:lstStyle>
          <a:p>
            <a:pPr>
              <a:lnSpc>
                <a:spcPct val="100000"/>
              </a:lnSpc>
              <a:spcBef>
                <a:spcPts val="0"/>
              </a:spcBef>
            </a:pPr>
            <a:endParaRPr lang="en-US" dirty="0">
              <a:solidFill>
                <a:srgbClr val="008272"/>
              </a:solidFill>
            </a:endParaRPr>
          </a:p>
        </p:txBody>
      </p:sp>
      <p:sp>
        <p:nvSpPr>
          <p:cNvPr id="58" name="Text Placeholder 24"/>
          <p:cNvSpPr txBox="1">
            <a:spLocks/>
          </p:cNvSpPr>
          <p:nvPr/>
        </p:nvSpPr>
        <p:spPr>
          <a:xfrm rot="16200000">
            <a:off x="-885278" y="3812874"/>
            <a:ext cx="4048256" cy="1381110"/>
          </a:xfrm>
          <a:prstGeom prst="rect">
            <a:avLst/>
          </a:prstGeom>
          <a:solidFill>
            <a:schemeClr val="bg1">
              <a:lumMod val="85000"/>
            </a:schemeClr>
          </a:solidFill>
        </p:spPr>
        <p:txBody>
          <a:bodyPr vert="horz" wrap="square" lIns="149196" tIns="46623" rIns="149196" bIns="46623" rtlCol="0">
            <a:noAutofit/>
          </a:bodyPr>
          <a:lstStyle>
            <a:defPPr>
              <a:defRPr lang="en-US"/>
            </a:defPPr>
            <a:lvl1pPr indent="0" algn="ctr" defTabSz="686047">
              <a:lnSpc>
                <a:spcPct val="90000"/>
              </a:lnSpc>
              <a:spcBef>
                <a:spcPts val="1800"/>
              </a:spcBef>
              <a:buSzPct val="90000"/>
              <a:buFont typeface="Wingdings" pitchFamily="2" charset="2"/>
              <a:buNone/>
              <a:defRPr sz="2400" kern="4000" spc="-100" baseline="0">
                <a:solidFill>
                  <a:schemeClr val="accent3"/>
                </a:solidFill>
                <a:latin typeface="+mj-lt"/>
              </a:defRPr>
            </a:lvl1pPr>
            <a:lvl2pPr marL="0" indent="0" defTabSz="686047">
              <a:lnSpc>
                <a:spcPct val="90000"/>
              </a:lnSpc>
              <a:spcBef>
                <a:spcPts val="100"/>
              </a:spcBef>
              <a:spcAft>
                <a:spcPts val="600"/>
              </a:spcAft>
              <a:buSzPct val="90000"/>
              <a:buFont typeface="Arial" pitchFamily="34" charset="0"/>
              <a:buNone/>
              <a:tabLst>
                <a:tab pos="472868" algn="l"/>
              </a:tabLst>
              <a:defRPr sz="2000"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defRPr>
            </a:lvl2pPr>
            <a:lvl3pPr marL="0" indent="0" defTabSz="686047">
              <a:lnSpc>
                <a:spcPct val="90000"/>
              </a:lnSpc>
              <a:spcBef>
                <a:spcPts val="0"/>
              </a:spcBef>
              <a:spcAft>
                <a:spcPts val="600"/>
              </a:spcAft>
              <a:buSzPct val="90000"/>
              <a:buFont typeface="Arial" pitchFamily="34" charset="0"/>
              <a:buNone/>
              <a:defRPr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defRPr>
            </a:lvl3pPr>
            <a:lvl4pPr marL="0" indent="0" defTabSz="686047">
              <a:lnSpc>
                <a:spcPct val="90000"/>
              </a:lnSpc>
              <a:spcBef>
                <a:spcPts val="0"/>
              </a:spcBef>
              <a:spcAft>
                <a:spcPts val="600"/>
              </a:spcAft>
              <a:buSzPct val="90000"/>
              <a:buFont typeface="Arial" pitchFamily="34" charset="0"/>
              <a:buNone/>
              <a:tabLst>
                <a:tab pos="686074" algn="l"/>
              </a:tabLst>
              <a:defRPr sz="1400"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defRPr>
            </a:lvl4pPr>
            <a:lvl5pPr marL="0" indent="0" defTabSz="686047">
              <a:lnSpc>
                <a:spcPct val="90000"/>
              </a:lnSpc>
              <a:spcBef>
                <a:spcPts val="0"/>
              </a:spcBef>
              <a:spcAft>
                <a:spcPts val="600"/>
              </a:spcAft>
              <a:buSzPct val="90000"/>
              <a:buFont typeface="Arial" pitchFamily="34" charset="0"/>
              <a:buNone/>
              <a:defRPr sz="1400"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defRPr>
            </a:lvl5pPr>
            <a:lvl6pPr marL="1886629" indent="-171512" defTabSz="686047">
              <a:spcBef>
                <a:spcPct val="20000"/>
              </a:spcBef>
              <a:buFont typeface="Arial" pitchFamily="34" charset="0"/>
              <a:buChar char="•"/>
              <a:defRPr sz="1500"/>
            </a:lvl6pPr>
            <a:lvl7pPr marL="2229652" indent="-171512" defTabSz="686047">
              <a:spcBef>
                <a:spcPct val="20000"/>
              </a:spcBef>
              <a:buFont typeface="Arial" pitchFamily="34" charset="0"/>
              <a:buChar char="•"/>
              <a:defRPr sz="1500"/>
            </a:lvl7pPr>
            <a:lvl8pPr marL="2572676" indent="-171512" defTabSz="686047">
              <a:spcBef>
                <a:spcPct val="20000"/>
              </a:spcBef>
              <a:buFont typeface="Arial" pitchFamily="34" charset="0"/>
              <a:buChar char="•"/>
              <a:defRPr sz="1500"/>
            </a:lvl8pPr>
            <a:lvl9pPr marL="2915700" indent="-171512" defTabSz="686047">
              <a:spcBef>
                <a:spcPct val="20000"/>
              </a:spcBef>
              <a:buFont typeface="Arial" pitchFamily="34" charset="0"/>
              <a:buChar char="•"/>
              <a:defRPr sz="1500"/>
            </a:lvl9pPr>
          </a:lstStyle>
          <a:p>
            <a:pPr>
              <a:lnSpc>
                <a:spcPct val="100000"/>
              </a:lnSpc>
              <a:spcBef>
                <a:spcPts val="0"/>
              </a:spcBef>
            </a:pPr>
            <a:endParaRPr lang="en-US" dirty="0">
              <a:solidFill>
                <a:srgbClr val="008272"/>
              </a:solidFill>
            </a:endParaRPr>
          </a:p>
        </p:txBody>
      </p:sp>
      <p:grpSp>
        <p:nvGrpSpPr>
          <p:cNvPr id="66" name="Group 65"/>
          <p:cNvGrpSpPr/>
          <p:nvPr/>
        </p:nvGrpSpPr>
        <p:grpSpPr>
          <a:xfrm>
            <a:off x="7562233" y="5703144"/>
            <a:ext cx="4226884" cy="585056"/>
            <a:chOff x="7840345" y="5433587"/>
            <a:chExt cx="4333880" cy="585139"/>
          </a:xfrm>
          <a:solidFill>
            <a:srgbClr val="00B0F0"/>
          </a:solidFill>
        </p:grpSpPr>
        <p:sp>
          <p:nvSpPr>
            <p:cNvPr id="67" name="Rectangle 66"/>
            <p:cNvSpPr/>
            <p:nvPr/>
          </p:nvSpPr>
          <p:spPr bwMode="auto">
            <a:xfrm>
              <a:off x="7840345" y="5433587"/>
              <a:ext cx="4333880" cy="58513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ctr" anchorCtr="0" forceAA="0" compatLnSpc="1">
              <a:prstTxWarp prst="textNoShape">
                <a:avLst/>
              </a:prstTxWarp>
              <a:noAutofit/>
            </a:bodyPr>
            <a:lstStyle/>
            <a:p>
              <a:pPr marL="631703" defTabSz="932418"/>
              <a:r>
                <a:rPr lang="en-US" sz="1369" dirty="0">
                  <a:solidFill>
                    <a:prstClr val="white"/>
                  </a:solidFill>
                  <a:latin typeface="Segoe UI Semilight" panose="020B0402040204020203" pitchFamily="34" charset="0"/>
                  <a:cs typeface="Segoe UI Semilight" panose="020B0402040204020203" pitchFamily="34" charset="0"/>
                </a:rPr>
                <a:t>Data analytics</a:t>
              </a:r>
            </a:p>
          </p:txBody>
        </p:sp>
        <p:sp>
          <p:nvSpPr>
            <p:cNvPr id="68" name="Freeform 15"/>
            <p:cNvSpPr>
              <a:spLocks noEditPoints="1"/>
            </p:cNvSpPr>
            <p:nvPr/>
          </p:nvSpPr>
          <p:spPr bwMode="auto">
            <a:xfrm>
              <a:off x="7945061" y="5540101"/>
              <a:ext cx="371584" cy="372109"/>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grpFill/>
            <a:ln>
              <a:noFill/>
            </a:ln>
          </p:spPr>
          <p:txBody>
            <a:bodyPr vert="horz" wrap="square" lIns="91427" tIns="45713" rIns="91427" bIns="45713" numCol="1" anchor="t" anchorCtr="0" compatLnSpc="1">
              <a:prstTxWarp prst="textNoShape">
                <a:avLst/>
              </a:prstTxWarp>
            </a:bodyPr>
            <a:lstStyle/>
            <a:p>
              <a:endParaRPr lang="en-US" sz="1369" dirty="0">
                <a:solidFill>
                  <a:srgbClr val="008272"/>
                </a:solidFill>
                <a:latin typeface="Segoe UI Semilight" panose="020B0402040204020203" pitchFamily="34" charset="0"/>
                <a:cs typeface="Segoe UI Semilight" panose="020B0402040204020203" pitchFamily="34" charset="0"/>
              </a:endParaRPr>
            </a:p>
          </p:txBody>
        </p:sp>
      </p:grpSp>
      <p:grpSp>
        <p:nvGrpSpPr>
          <p:cNvPr id="69" name="Group 68"/>
          <p:cNvGrpSpPr/>
          <p:nvPr/>
        </p:nvGrpSpPr>
        <p:grpSpPr>
          <a:xfrm>
            <a:off x="3293870" y="4939164"/>
            <a:ext cx="8495248" cy="585056"/>
            <a:chOff x="3473727" y="4660448"/>
            <a:chExt cx="8699612" cy="585139"/>
          </a:xfrm>
          <a:solidFill>
            <a:srgbClr val="00B0F0"/>
          </a:solidFill>
        </p:grpSpPr>
        <p:sp>
          <p:nvSpPr>
            <p:cNvPr id="70" name="Rectangle 69"/>
            <p:cNvSpPr/>
            <p:nvPr/>
          </p:nvSpPr>
          <p:spPr bwMode="auto">
            <a:xfrm>
              <a:off x="3473727" y="4660448"/>
              <a:ext cx="8699612" cy="58513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ctr" anchorCtr="0" forceAA="0" compatLnSpc="1">
              <a:prstTxWarp prst="textNoShape">
                <a:avLst/>
              </a:prstTxWarp>
              <a:noAutofit/>
            </a:bodyPr>
            <a:lstStyle/>
            <a:p>
              <a:pPr marL="571390" defTabSz="699024">
                <a:defRPr/>
              </a:pPr>
              <a:r>
                <a:rPr lang="en-US" sz="1369" dirty="0">
                  <a:solidFill>
                    <a:prstClr val="white"/>
                  </a:solidFill>
                  <a:latin typeface="Segoe UI Semilight" panose="020B0402040204020203" pitchFamily="34" charset="0"/>
                  <a:cs typeface="Segoe UI Semilight" panose="020B0402040204020203" pitchFamily="34" charset="0"/>
                </a:rPr>
                <a:t>Managed services</a:t>
              </a:r>
            </a:p>
          </p:txBody>
        </p:sp>
        <p:sp>
          <p:nvSpPr>
            <p:cNvPr id="71" name="Freeform 70"/>
            <p:cNvSpPr/>
            <p:nvPr/>
          </p:nvSpPr>
          <p:spPr bwMode="auto">
            <a:xfrm rot="16200000">
              <a:off x="3599652" y="4759246"/>
              <a:ext cx="387906" cy="387541"/>
            </a:xfrm>
            <a:custGeom>
              <a:avLst/>
              <a:gdLst/>
              <a:ahLst/>
              <a:cxnLst/>
              <a:rect l="l" t="t" r="r" b="b"/>
              <a:pathLst>
                <a:path w="2853774" h="2851093">
                  <a:moveTo>
                    <a:pt x="1069181" y="2295071"/>
                  </a:moveTo>
                  <a:lnTo>
                    <a:pt x="952500" y="2411752"/>
                  </a:lnTo>
                  <a:cubicBezTo>
                    <a:pt x="800894" y="2328409"/>
                    <a:pt x="375443" y="2180772"/>
                    <a:pt x="326231" y="1490209"/>
                  </a:cubicBezTo>
                  <a:cubicBezTo>
                    <a:pt x="327819" y="1475128"/>
                    <a:pt x="317500" y="1471953"/>
                    <a:pt x="302419" y="1480684"/>
                  </a:cubicBezTo>
                  <a:lnTo>
                    <a:pt x="116680" y="1680708"/>
                  </a:lnTo>
                  <a:lnTo>
                    <a:pt x="0" y="1564027"/>
                  </a:lnTo>
                  <a:lnTo>
                    <a:pt x="397669" y="1152071"/>
                  </a:lnTo>
                  <a:lnTo>
                    <a:pt x="807244" y="1556884"/>
                  </a:lnTo>
                  <a:lnTo>
                    <a:pt x="685800" y="1671184"/>
                  </a:lnTo>
                  <a:lnTo>
                    <a:pt x="476250" y="1466396"/>
                  </a:lnTo>
                  <a:cubicBezTo>
                    <a:pt x="492920" y="1537834"/>
                    <a:pt x="416718" y="1978365"/>
                    <a:pt x="1069181" y="2295071"/>
                  </a:cubicBezTo>
                  <a:close/>
                  <a:moveTo>
                    <a:pt x="1699022" y="397669"/>
                  </a:moveTo>
                  <a:lnTo>
                    <a:pt x="1294209" y="807244"/>
                  </a:lnTo>
                  <a:lnTo>
                    <a:pt x="1179909" y="685800"/>
                  </a:lnTo>
                  <a:lnTo>
                    <a:pt x="1384697" y="476250"/>
                  </a:lnTo>
                  <a:cubicBezTo>
                    <a:pt x="1313259" y="492920"/>
                    <a:pt x="872728" y="416718"/>
                    <a:pt x="556022" y="1069181"/>
                  </a:cubicBezTo>
                  <a:lnTo>
                    <a:pt x="439341" y="952500"/>
                  </a:lnTo>
                  <a:cubicBezTo>
                    <a:pt x="522684" y="800894"/>
                    <a:pt x="670321" y="375443"/>
                    <a:pt x="1360884" y="326231"/>
                  </a:cubicBezTo>
                  <a:cubicBezTo>
                    <a:pt x="1375965" y="327819"/>
                    <a:pt x="1379140" y="317500"/>
                    <a:pt x="1370409" y="302419"/>
                  </a:cubicBezTo>
                  <a:lnTo>
                    <a:pt x="1170385" y="116680"/>
                  </a:lnTo>
                  <a:lnTo>
                    <a:pt x="1287066" y="0"/>
                  </a:lnTo>
                  <a:close/>
                  <a:moveTo>
                    <a:pt x="2425071" y="1898593"/>
                  </a:moveTo>
                  <a:cubicBezTo>
                    <a:pt x="2341728" y="2050199"/>
                    <a:pt x="2194091" y="2475650"/>
                    <a:pt x="1503528" y="2524862"/>
                  </a:cubicBezTo>
                  <a:cubicBezTo>
                    <a:pt x="1488447" y="2523274"/>
                    <a:pt x="1485272" y="2533593"/>
                    <a:pt x="1494003" y="2548674"/>
                  </a:cubicBezTo>
                  <a:lnTo>
                    <a:pt x="1694027" y="2734413"/>
                  </a:lnTo>
                  <a:lnTo>
                    <a:pt x="1577346" y="2851093"/>
                  </a:lnTo>
                  <a:lnTo>
                    <a:pt x="1165390" y="2453424"/>
                  </a:lnTo>
                  <a:lnTo>
                    <a:pt x="1570203" y="2043849"/>
                  </a:lnTo>
                  <a:lnTo>
                    <a:pt x="1684503" y="2165293"/>
                  </a:lnTo>
                  <a:lnTo>
                    <a:pt x="1479715" y="2374843"/>
                  </a:lnTo>
                  <a:cubicBezTo>
                    <a:pt x="1551153" y="2358173"/>
                    <a:pt x="1991684" y="2434375"/>
                    <a:pt x="2308390" y="1781912"/>
                  </a:cubicBezTo>
                  <a:close/>
                  <a:moveTo>
                    <a:pt x="2853774" y="1287066"/>
                  </a:moveTo>
                  <a:lnTo>
                    <a:pt x="2456105" y="1699022"/>
                  </a:lnTo>
                  <a:lnTo>
                    <a:pt x="2046530" y="1294209"/>
                  </a:lnTo>
                  <a:lnTo>
                    <a:pt x="2167974" y="1179909"/>
                  </a:lnTo>
                  <a:lnTo>
                    <a:pt x="2377524" y="1384697"/>
                  </a:lnTo>
                  <a:cubicBezTo>
                    <a:pt x="2360854" y="1313259"/>
                    <a:pt x="2437056" y="872728"/>
                    <a:pt x="1784593" y="556022"/>
                  </a:cubicBezTo>
                  <a:lnTo>
                    <a:pt x="1901274" y="439341"/>
                  </a:lnTo>
                  <a:cubicBezTo>
                    <a:pt x="2052880" y="522684"/>
                    <a:pt x="2478331" y="670321"/>
                    <a:pt x="2527543" y="1360884"/>
                  </a:cubicBezTo>
                  <a:cubicBezTo>
                    <a:pt x="2525955" y="1375965"/>
                    <a:pt x="2536274" y="1379140"/>
                    <a:pt x="2551355" y="1370409"/>
                  </a:cubicBezTo>
                  <a:lnTo>
                    <a:pt x="2737094" y="1170385"/>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endParaRPr lang="en-US" sz="1369" spc="-50" dirty="0">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endParaRPr>
            </a:p>
          </p:txBody>
        </p:sp>
      </p:grpSp>
      <p:grpSp>
        <p:nvGrpSpPr>
          <p:cNvPr id="72" name="Group 71"/>
          <p:cNvGrpSpPr/>
          <p:nvPr/>
        </p:nvGrpSpPr>
        <p:grpSpPr>
          <a:xfrm>
            <a:off x="1871082" y="3411193"/>
            <a:ext cx="4854294" cy="585064"/>
            <a:chOff x="2016461" y="3138294"/>
            <a:chExt cx="4854993" cy="585147"/>
          </a:xfrm>
          <a:solidFill>
            <a:srgbClr val="00B0F0"/>
          </a:solidFill>
        </p:grpSpPr>
        <p:sp>
          <p:nvSpPr>
            <p:cNvPr id="73" name="Rectangle 72"/>
            <p:cNvSpPr/>
            <p:nvPr/>
          </p:nvSpPr>
          <p:spPr bwMode="auto">
            <a:xfrm>
              <a:off x="2016461" y="3138294"/>
              <a:ext cx="4854993" cy="58514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ctr" anchorCtr="0" forceAA="0" compatLnSpc="1">
              <a:prstTxWarp prst="textNoShape">
                <a:avLst/>
              </a:prstTxWarp>
              <a:noAutofit/>
            </a:bodyPr>
            <a:lstStyle/>
            <a:p>
              <a:pPr marL="745982" defTabSz="699024">
                <a:defRPr/>
              </a:pPr>
              <a:r>
                <a:rPr lang="en-US" altLang="en-US" sz="1369" dirty="0">
                  <a:solidFill>
                    <a:prstClr val="white"/>
                  </a:solidFill>
                  <a:latin typeface="Segoe UI Semilight" panose="020B0402040204020203" pitchFamily="34" charset="0"/>
                  <a:cs typeface="Segoe UI Semilight" panose="020B0402040204020203" pitchFamily="34" charset="0"/>
                </a:rPr>
                <a:t>Systems integration</a:t>
              </a:r>
            </a:p>
          </p:txBody>
        </p:sp>
        <p:sp>
          <p:nvSpPr>
            <p:cNvPr id="74" name="Freeform 73"/>
            <p:cNvSpPr/>
            <p:nvPr/>
          </p:nvSpPr>
          <p:spPr bwMode="auto">
            <a:xfrm>
              <a:off x="2113448" y="3265161"/>
              <a:ext cx="563236" cy="331413"/>
            </a:xfrm>
            <a:custGeom>
              <a:avLst/>
              <a:gdLst/>
              <a:ahLst/>
              <a:cxnLst/>
              <a:rect l="l" t="t" r="r" b="b"/>
              <a:pathLst>
                <a:path w="5073508" h="2985296">
                  <a:moveTo>
                    <a:pt x="1891430" y="1569855"/>
                  </a:moveTo>
                  <a:lnTo>
                    <a:pt x="2401866" y="1923715"/>
                  </a:lnTo>
                  <a:cubicBezTo>
                    <a:pt x="2186836" y="2066720"/>
                    <a:pt x="1264085" y="2738950"/>
                    <a:pt x="676406" y="2615778"/>
                  </a:cubicBezTo>
                  <a:lnTo>
                    <a:pt x="670143" y="2985296"/>
                  </a:lnTo>
                  <a:lnTo>
                    <a:pt x="0" y="2280707"/>
                  </a:lnTo>
                  <a:lnTo>
                    <a:pt x="673274" y="1576118"/>
                  </a:lnTo>
                  <a:lnTo>
                    <a:pt x="676406" y="1948767"/>
                  </a:lnTo>
                  <a:cubicBezTo>
                    <a:pt x="1072019" y="1972775"/>
                    <a:pt x="1520870" y="1780710"/>
                    <a:pt x="1891430" y="1569855"/>
                  </a:cubicBezTo>
                  <a:close/>
                  <a:moveTo>
                    <a:pt x="692255" y="20924"/>
                  </a:moveTo>
                  <a:lnTo>
                    <a:pt x="698193" y="365309"/>
                  </a:lnTo>
                  <a:cubicBezTo>
                    <a:pt x="2093544" y="340570"/>
                    <a:pt x="3064352" y="1935821"/>
                    <a:pt x="4397357" y="1974415"/>
                  </a:cubicBezTo>
                  <a:cubicBezTo>
                    <a:pt x="4395378" y="1845766"/>
                    <a:pt x="4393398" y="1717117"/>
                    <a:pt x="4391419" y="1588468"/>
                  </a:cubicBezTo>
                  <a:lnTo>
                    <a:pt x="5068313" y="2259423"/>
                  </a:lnTo>
                  <a:lnTo>
                    <a:pt x="4385481" y="2948192"/>
                  </a:lnTo>
                  <a:lnTo>
                    <a:pt x="4379544" y="2621620"/>
                  </a:lnTo>
                  <a:cubicBezTo>
                    <a:pt x="2817939" y="2651309"/>
                    <a:pt x="2016353" y="1006575"/>
                    <a:pt x="674442" y="1000638"/>
                  </a:cubicBezTo>
                  <a:cubicBezTo>
                    <a:pt x="676421" y="1131267"/>
                    <a:pt x="678401" y="1261895"/>
                    <a:pt x="680380" y="1392524"/>
                  </a:cubicBezTo>
                  <a:lnTo>
                    <a:pt x="3487" y="674067"/>
                  </a:lnTo>
                  <a:close/>
                  <a:moveTo>
                    <a:pt x="4403365" y="0"/>
                  </a:moveTo>
                  <a:lnTo>
                    <a:pt x="5073508" y="704589"/>
                  </a:lnTo>
                  <a:lnTo>
                    <a:pt x="4400234" y="1409178"/>
                  </a:lnTo>
                  <a:lnTo>
                    <a:pt x="4397102" y="1036529"/>
                  </a:lnTo>
                  <a:cubicBezTo>
                    <a:pt x="4001489" y="1012521"/>
                    <a:pt x="3552638" y="1204586"/>
                    <a:pt x="3182078" y="1415441"/>
                  </a:cubicBezTo>
                  <a:lnTo>
                    <a:pt x="2671642" y="1061581"/>
                  </a:lnTo>
                  <a:cubicBezTo>
                    <a:pt x="2886672" y="918576"/>
                    <a:pt x="3809423" y="246346"/>
                    <a:pt x="4397102" y="369518"/>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endParaRPr lang="en-US" sz="1369" spc="-50" dirty="0">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endParaRPr>
            </a:p>
          </p:txBody>
        </p:sp>
      </p:grpSp>
      <p:grpSp>
        <p:nvGrpSpPr>
          <p:cNvPr id="75" name="Group 74"/>
          <p:cNvGrpSpPr/>
          <p:nvPr/>
        </p:nvGrpSpPr>
        <p:grpSpPr>
          <a:xfrm>
            <a:off x="1871081" y="4175183"/>
            <a:ext cx="8495247" cy="585056"/>
            <a:chOff x="2016462" y="3899375"/>
            <a:chExt cx="8702520" cy="585139"/>
          </a:xfrm>
          <a:solidFill>
            <a:srgbClr val="00B0F0"/>
          </a:solidFill>
        </p:grpSpPr>
        <p:sp>
          <p:nvSpPr>
            <p:cNvPr id="76" name="Rectangle 75"/>
            <p:cNvSpPr/>
            <p:nvPr/>
          </p:nvSpPr>
          <p:spPr bwMode="auto">
            <a:xfrm>
              <a:off x="2016462" y="3899375"/>
              <a:ext cx="8702520" cy="58513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ctr" anchorCtr="0" forceAA="0" compatLnSpc="1">
              <a:prstTxWarp prst="textNoShape">
                <a:avLst/>
              </a:prstTxWarp>
              <a:noAutofit/>
            </a:bodyPr>
            <a:lstStyle/>
            <a:p>
              <a:pPr marL="745982" defTabSz="699024">
                <a:defRPr/>
              </a:pPr>
              <a:r>
                <a:rPr lang="en-US" sz="1369" dirty="0">
                  <a:solidFill>
                    <a:prstClr val="white"/>
                  </a:solidFill>
                  <a:latin typeface="Segoe UI Semilight" panose="020B0402040204020203" pitchFamily="34" charset="0"/>
                  <a:cs typeface="Segoe UI Semilight" panose="020B0402040204020203" pitchFamily="34" charset="0"/>
                </a:rPr>
                <a:t>Application development</a:t>
              </a:r>
            </a:p>
          </p:txBody>
        </p:sp>
        <p:sp>
          <p:nvSpPr>
            <p:cNvPr id="77" name="Donut 59"/>
            <p:cNvSpPr>
              <a:spLocks noChangeAspect="1"/>
            </p:cNvSpPr>
            <p:nvPr/>
          </p:nvSpPr>
          <p:spPr bwMode="auto">
            <a:xfrm>
              <a:off x="2117077" y="3998209"/>
              <a:ext cx="485964" cy="387470"/>
            </a:xfrm>
            <a:custGeom>
              <a:avLst/>
              <a:gdLst/>
              <a:ahLst/>
              <a:cxnLst/>
              <a:rect l="l" t="t" r="r" b="b"/>
              <a:pathLst>
                <a:path w="1049699" h="873224">
                  <a:moveTo>
                    <a:pt x="694504" y="413534"/>
                  </a:moveTo>
                  <a:cubicBezTo>
                    <a:pt x="732475" y="413534"/>
                    <a:pt x="763257" y="444315"/>
                    <a:pt x="763257" y="482286"/>
                  </a:cubicBezTo>
                  <a:cubicBezTo>
                    <a:pt x="763257" y="520258"/>
                    <a:pt x="732475" y="551039"/>
                    <a:pt x="694504" y="551039"/>
                  </a:cubicBezTo>
                  <a:cubicBezTo>
                    <a:pt x="656533" y="551039"/>
                    <a:pt x="625751" y="520258"/>
                    <a:pt x="625751" y="482286"/>
                  </a:cubicBezTo>
                  <a:cubicBezTo>
                    <a:pt x="625751" y="444315"/>
                    <a:pt x="656533" y="413534"/>
                    <a:pt x="694504" y="413534"/>
                  </a:cubicBezTo>
                  <a:close/>
                  <a:moveTo>
                    <a:pt x="694504" y="344781"/>
                  </a:moveTo>
                  <a:cubicBezTo>
                    <a:pt x="618562" y="344781"/>
                    <a:pt x="556998" y="406344"/>
                    <a:pt x="556998" y="482286"/>
                  </a:cubicBezTo>
                  <a:cubicBezTo>
                    <a:pt x="556998" y="558229"/>
                    <a:pt x="618562" y="619792"/>
                    <a:pt x="694504" y="619792"/>
                  </a:cubicBezTo>
                  <a:cubicBezTo>
                    <a:pt x="770446" y="619792"/>
                    <a:pt x="832010" y="558229"/>
                    <a:pt x="832010" y="482286"/>
                  </a:cubicBezTo>
                  <a:cubicBezTo>
                    <a:pt x="832010" y="406344"/>
                    <a:pt x="770446" y="344781"/>
                    <a:pt x="694504" y="344781"/>
                  </a:cubicBezTo>
                  <a:close/>
                  <a:moveTo>
                    <a:pt x="197661" y="172436"/>
                  </a:moveTo>
                  <a:cubicBezTo>
                    <a:pt x="219463" y="172436"/>
                    <a:pt x="237138" y="190111"/>
                    <a:pt x="237138" y="211913"/>
                  </a:cubicBezTo>
                  <a:cubicBezTo>
                    <a:pt x="237138" y="233716"/>
                    <a:pt x="219463" y="251390"/>
                    <a:pt x="197661" y="251390"/>
                  </a:cubicBezTo>
                  <a:cubicBezTo>
                    <a:pt x="175858" y="251390"/>
                    <a:pt x="158183" y="233716"/>
                    <a:pt x="158183" y="211913"/>
                  </a:cubicBezTo>
                  <a:cubicBezTo>
                    <a:pt x="158183" y="190111"/>
                    <a:pt x="175858" y="172436"/>
                    <a:pt x="197661" y="172436"/>
                  </a:cubicBezTo>
                  <a:close/>
                  <a:moveTo>
                    <a:pt x="197661" y="132959"/>
                  </a:moveTo>
                  <a:cubicBezTo>
                    <a:pt x="154055" y="132959"/>
                    <a:pt x="118706" y="168308"/>
                    <a:pt x="118706" y="211913"/>
                  </a:cubicBezTo>
                  <a:cubicBezTo>
                    <a:pt x="118706" y="255519"/>
                    <a:pt x="154055" y="290868"/>
                    <a:pt x="197661" y="290868"/>
                  </a:cubicBezTo>
                  <a:cubicBezTo>
                    <a:pt x="241266" y="290868"/>
                    <a:pt x="276615" y="255519"/>
                    <a:pt x="276615" y="211913"/>
                  </a:cubicBezTo>
                  <a:cubicBezTo>
                    <a:pt x="276615" y="168308"/>
                    <a:pt x="241266" y="132959"/>
                    <a:pt x="197661" y="132959"/>
                  </a:cubicBezTo>
                  <a:close/>
                  <a:moveTo>
                    <a:pt x="735148" y="113222"/>
                  </a:moveTo>
                  <a:lnTo>
                    <a:pt x="750778" y="185510"/>
                  </a:lnTo>
                  <a:lnTo>
                    <a:pt x="825020" y="210909"/>
                  </a:lnTo>
                  <a:lnTo>
                    <a:pt x="869956" y="162065"/>
                  </a:lnTo>
                  <a:lnTo>
                    <a:pt x="938336" y="208955"/>
                  </a:lnTo>
                  <a:lnTo>
                    <a:pt x="912938" y="277336"/>
                  </a:lnTo>
                  <a:lnTo>
                    <a:pt x="950059" y="332040"/>
                  </a:lnTo>
                  <a:lnTo>
                    <a:pt x="1026254" y="332040"/>
                  </a:lnTo>
                  <a:lnTo>
                    <a:pt x="1049699" y="418004"/>
                  </a:lnTo>
                  <a:lnTo>
                    <a:pt x="996948" y="459033"/>
                  </a:lnTo>
                  <a:lnTo>
                    <a:pt x="996948" y="523506"/>
                  </a:lnTo>
                  <a:lnTo>
                    <a:pt x="1045792" y="568442"/>
                  </a:lnTo>
                  <a:lnTo>
                    <a:pt x="1028208" y="646591"/>
                  </a:lnTo>
                  <a:lnTo>
                    <a:pt x="944197" y="648545"/>
                  </a:lnTo>
                  <a:lnTo>
                    <a:pt x="914891" y="695434"/>
                  </a:lnTo>
                  <a:lnTo>
                    <a:pt x="932475" y="767723"/>
                  </a:lnTo>
                  <a:lnTo>
                    <a:pt x="869956" y="814612"/>
                  </a:lnTo>
                  <a:lnTo>
                    <a:pt x="813297" y="769676"/>
                  </a:lnTo>
                  <a:lnTo>
                    <a:pt x="750778" y="797029"/>
                  </a:lnTo>
                  <a:lnTo>
                    <a:pt x="737102" y="865409"/>
                  </a:lnTo>
                  <a:lnTo>
                    <a:pt x="656998" y="873224"/>
                  </a:lnTo>
                  <a:lnTo>
                    <a:pt x="637461" y="789214"/>
                  </a:lnTo>
                  <a:lnTo>
                    <a:pt x="572988" y="769676"/>
                  </a:lnTo>
                  <a:lnTo>
                    <a:pt x="518283" y="814612"/>
                  </a:lnTo>
                  <a:lnTo>
                    <a:pt x="463579" y="765769"/>
                  </a:lnTo>
                  <a:lnTo>
                    <a:pt x="483116" y="701296"/>
                  </a:lnTo>
                  <a:lnTo>
                    <a:pt x="442088" y="646591"/>
                  </a:lnTo>
                  <a:lnTo>
                    <a:pt x="365892" y="644637"/>
                  </a:lnTo>
                  <a:lnTo>
                    <a:pt x="350262" y="568442"/>
                  </a:lnTo>
                  <a:lnTo>
                    <a:pt x="410828" y="537182"/>
                  </a:lnTo>
                  <a:lnTo>
                    <a:pt x="408874" y="460987"/>
                  </a:lnTo>
                  <a:lnTo>
                    <a:pt x="350262" y="412143"/>
                  </a:lnTo>
                  <a:lnTo>
                    <a:pt x="371753" y="339855"/>
                  </a:lnTo>
                  <a:lnTo>
                    <a:pt x="444041" y="341809"/>
                  </a:lnTo>
                  <a:lnTo>
                    <a:pt x="485070" y="296873"/>
                  </a:lnTo>
                  <a:lnTo>
                    <a:pt x="459671" y="208955"/>
                  </a:lnTo>
                  <a:lnTo>
                    <a:pt x="516330" y="164019"/>
                  </a:lnTo>
                  <a:lnTo>
                    <a:pt x="582757" y="208955"/>
                  </a:lnTo>
                  <a:lnTo>
                    <a:pt x="637461" y="189418"/>
                  </a:lnTo>
                  <a:lnTo>
                    <a:pt x="658952" y="115176"/>
                  </a:lnTo>
                  <a:close/>
                  <a:moveTo>
                    <a:pt x="220998" y="0"/>
                  </a:moveTo>
                  <a:lnTo>
                    <a:pt x="229972" y="41507"/>
                  </a:lnTo>
                  <a:lnTo>
                    <a:pt x="272601" y="56091"/>
                  </a:lnTo>
                  <a:lnTo>
                    <a:pt x="298403" y="28045"/>
                  </a:lnTo>
                  <a:lnTo>
                    <a:pt x="337667" y="54969"/>
                  </a:lnTo>
                  <a:lnTo>
                    <a:pt x="323083" y="94233"/>
                  </a:lnTo>
                  <a:lnTo>
                    <a:pt x="344398" y="125643"/>
                  </a:lnTo>
                  <a:lnTo>
                    <a:pt x="388148" y="125643"/>
                  </a:lnTo>
                  <a:lnTo>
                    <a:pt x="401610" y="175003"/>
                  </a:lnTo>
                  <a:lnTo>
                    <a:pt x="371321" y="198561"/>
                  </a:lnTo>
                  <a:lnTo>
                    <a:pt x="371321" y="235581"/>
                  </a:lnTo>
                  <a:lnTo>
                    <a:pt x="399366" y="261383"/>
                  </a:lnTo>
                  <a:lnTo>
                    <a:pt x="389270" y="306256"/>
                  </a:lnTo>
                  <a:lnTo>
                    <a:pt x="341032" y="307377"/>
                  </a:lnTo>
                  <a:lnTo>
                    <a:pt x="324205" y="334301"/>
                  </a:lnTo>
                  <a:lnTo>
                    <a:pt x="334301" y="375808"/>
                  </a:lnTo>
                  <a:lnTo>
                    <a:pt x="298403" y="402732"/>
                  </a:lnTo>
                  <a:lnTo>
                    <a:pt x="265870" y="376930"/>
                  </a:lnTo>
                  <a:lnTo>
                    <a:pt x="229972" y="392635"/>
                  </a:lnTo>
                  <a:lnTo>
                    <a:pt x="222120" y="431899"/>
                  </a:lnTo>
                  <a:lnTo>
                    <a:pt x="176125" y="436386"/>
                  </a:lnTo>
                  <a:lnTo>
                    <a:pt x="164907" y="388148"/>
                  </a:lnTo>
                  <a:lnTo>
                    <a:pt x="127887" y="376930"/>
                  </a:lnTo>
                  <a:lnTo>
                    <a:pt x="96476" y="402732"/>
                  </a:lnTo>
                  <a:lnTo>
                    <a:pt x="65065" y="374686"/>
                  </a:lnTo>
                  <a:lnTo>
                    <a:pt x="76284" y="337666"/>
                  </a:lnTo>
                  <a:lnTo>
                    <a:pt x="52725" y="306256"/>
                  </a:lnTo>
                  <a:lnTo>
                    <a:pt x="8975" y="305134"/>
                  </a:lnTo>
                  <a:lnTo>
                    <a:pt x="0" y="261383"/>
                  </a:lnTo>
                  <a:lnTo>
                    <a:pt x="34776" y="243434"/>
                  </a:lnTo>
                  <a:lnTo>
                    <a:pt x="33655" y="199683"/>
                  </a:lnTo>
                  <a:lnTo>
                    <a:pt x="0" y="171638"/>
                  </a:lnTo>
                  <a:lnTo>
                    <a:pt x="12340" y="130131"/>
                  </a:lnTo>
                  <a:lnTo>
                    <a:pt x="53847" y="131252"/>
                  </a:lnTo>
                  <a:lnTo>
                    <a:pt x="77405" y="105451"/>
                  </a:lnTo>
                  <a:lnTo>
                    <a:pt x="62822" y="54969"/>
                  </a:lnTo>
                  <a:lnTo>
                    <a:pt x="95354" y="29167"/>
                  </a:lnTo>
                  <a:lnTo>
                    <a:pt x="133496" y="54969"/>
                  </a:lnTo>
                  <a:lnTo>
                    <a:pt x="164907" y="43751"/>
                  </a:lnTo>
                  <a:lnTo>
                    <a:pt x="177247" y="1122"/>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endParaRPr lang="en-US" sz="1369" spc="-50" dirty="0">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endParaRPr>
            </a:p>
          </p:txBody>
        </p:sp>
      </p:grpSp>
      <p:grpSp>
        <p:nvGrpSpPr>
          <p:cNvPr id="78" name="Group 77"/>
          <p:cNvGrpSpPr/>
          <p:nvPr/>
        </p:nvGrpSpPr>
        <p:grpSpPr>
          <a:xfrm>
            <a:off x="452769" y="2647212"/>
            <a:ext cx="11336349" cy="585056"/>
            <a:chOff x="567715" y="2377221"/>
            <a:chExt cx="11605623" cy="585139"/>
          </a:xfrm>
          <a:solidFill>
            <a:srgbClr val="00B0F0"/>
          </a:solidFill>
        </p:grpSpPr>
        <p:sp>
          <p:nvSpPr>
            <p:cNvPr id="79" name="Rectangle 78"/>
            <p:cNvSpPr/>
            <p:nvPr/>
          </p:nvSpPr>
          <p:spPr bwMode="auto">
            <a:xfrm>
              <a:off x="567715" y="2377221"/>
              <a:ext cx="11605623" cy="58513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ctr" anchorCtr="0" forceAA="0" compatLnSpc="1">
              <a:prstTxWarp prst="textNoShape">
                <a:avLst/>
              </a:prstTxWarp>
              <a:noAutofit/>
            </a:bodyPr>
            <a:lstStyle/>
            <a:p>
              <a:pPr marL="690430" defTabSz="699024">
                <a:defRPr/>
              </a:pPr>
              <a:r>
                <a:rPr lang="en-US" sz="1369" dirty="0">
                  <a:solidFill>
                    <a:prstClr val="white"/>
                  </a:solidFill>
                  <a:latin typeface="Segoe UI Semilight" panose="020B0402040204020203" pitchFamily="34" charset="0"/>
                  <a:cs typeface="Segoe UI Semilight" panose="020B0402040204020203" pitchFamily="34" charset="0"/>
                </a:rPr>
                <a:t>Consulting services</a:t>
              </a:r>
            </a:p>
          </p:txBody>
        </p:sp>
        <p:sp>
          <p:nvSpPr>
            <p:cNvPr id="80" name="Freeform 26"/>
            <p:cNvSpPr>
              <a:spLocks/>
            </p:cNvSpPr>
            <p:nvPr/>
          </p:nvSpPr>
          <p:spPr bwMode="auto">
            <a:xfrm>
              <a:off x="664704" y="2514439"/>
              <a:ext cx="523678" cy="318816"/>
            </a:xfrm>
            <a:custGeom>
              <a:avLst/>
              <a:gdLst/>
              <a:ahLst/>
              <a:cxnLst/>
              <a:rect l="l" t="t" r="r" b="b"/>
              <a:pathLst>
                <a:path w="1131854" h="689073">
                  <a:moveTo>
                    <a:pt x="212048" y="426589"/>
                  </a:moveTo>
                  <a:cubicBezTo>
                    <a:pt x="233959" y="422223"/>
                    <a:pt x="260251" y="439687"/>
                    <a:pt x="269016" y="465882"/>
                  </a:cubicBezTo>
                  <a:cubicBezTo>
                    <a:pt x="273398" y="444052"/>
                    <a:pt x="299690" y="430955"/>
                    <a:pt x="321601" y="435321"/>
                  </a:cubicBezTo>
                  <a:cubicBezTo>
                    <a:pt x="343511" y="439687"/>
                    <a:pt x="361040" y="461516"/>
                    <a:pt x="361040" y="483345"/>
                  </a:cubicBezTo>
                  <a:cubicBezTo>
                    <a:pt x="365422" y="452784"/>
                    <a:pt x="391715" y="439687"/>
                    <a:pt x="418007" y="444052"/>
                  </a:cubicBezTo>
                  <a:cubicBezTo>
                    <a:pt x="444300" y="448418"/>
                    <a:pt x="461828" y="474613"/>
                    <a:pt x="453064" y="500808"/>
                  </a:cubicBezTo>
                  <a:cubicBezTo>
                    <a:pt x="453063" y="500819"/>
                    <a:pt x="452983" y="501378"/>
                    <a:pt x="448682" y="531369"/>
                  </a:cubicBezTo>
                  <a:cubicBezTo>
                    <a:pt x="457446" y="513906"/>
                    <a:pt x="479357" y="505174"/>
                    <a:pt x="501267" y="509540"/>
                  </a:cubicBezTo>
                  <a:cubicBezTo>
                    <a:pt x="523178" y="513906"/>
                    <a:pt x="540706" y="540101"/>
                    <a:pt x="536324" y="566296"/>
                  </a:cubicBezTo>
                  <a:cubicBezTo>
                    <a:pt x="536321" y="566308"/>
                    <a:pt x="536101" y="567241"/>
                    <a:pt x="518796" y="640516"/>
                  </a:cubicBezTo>
                  <a:cubicBezTo>
                    <a:pt x="510031" y="666711"/>
                    <a:pt x="488121" y="679808"/>
                    <a:pt x="466210" y="679808"/>
                  </a:cubicBezTo>
                  <a:cubicBezTo>
                    <a:pt x="435536" y="671076"/>
                    <a:pt x="422389" y="649247"/>
                    <a:pt x="422389" y="627418"/>
                  </a:cubicBezTo>
                  <a:cubicBezTo>
                    <a:pt x="413625" y="640516"/>
                    <a:pt x="396097" y="649247"/>
                    <a:pt x="378568" y="649247"/>
                  </a:cubicBezTo>
                  <a:cubicBezTo>
                    <a:pt x="347893" y="640516"/>
                    <a:pt x="330365" y="614320"/>
                    <a:pt x="334747" y="592491"/>
                  </a:cubicBezTo>
                  <a:lnTo>
                    <a:pt x="339129" y="588125"/>
                  </a:lnTo>
                  <a:cubicBezTo>
                    <a:pt x="325983" y="601223"/>
                    <a:pt x="308455" y="609955"/>
                    <a:pt x="290926" y="609955"/>
                  </a:cubicBezTo>
                  <a:cubicBezTo>
                    <a:pt x="269016" y="605589"/>
                    <a:pt x="255869" y="592491"/>
                    <a:pt x="251487" y="575028"/>
                  </a:cubicBezTo>
                  <a:cubicBezTo>
                    <a:pt x="247105" y="579394"/>
                    <a:pt x="247105" y="579394"/>
                    <a:pt x="242723" y="579394"/>
                  </a:cubicBezTo>
                  <a:cubicBezTo>
                    <a:pt x="238341" y="579394"/>
                    <a:pt x="233959" y="579394"/>
                    <a:pt x="229577" y="579394"/>
                  </a:cubicBezTo>
                  <a:cubicBezTo>
                    <a:pt x="207666" y="579394"/>
                    <a:pt x="190138" y="561930"/>
                    <a:pt x="185756" y="544467"/>
                  </a:cubicBezTo>
                  <a:cubicBezTo>
                    <a:pt x="185754" y="544458"/>
                    <a:pt x="185592" y="543707"/>
                    <a:pt x="172609" y="483345"/>
                  </a:cubicBezTo>
                  <a:cubicBezTo>
                    <a:pt x="168227" y="457150"/>
                    <a:pt x="185756" y="435321"/>
                    <a:pt x="212048" y="426589"/>
                  </a:cubicBezTo>
                  <a:close/>
                  <a:moveTo>
                    <a:pt x="225132" y="88660"/>
                  </a:moveTo>
                  <a:cubicBezTo>
                    <a:pt x="225162" y="88660"/>
                    <a:pt x="242700" y="88660"/>
                    <a:pt x="268996" y="88660"/>
                  </a:cubicBezTo>
                  <a:cubicBezTo>
                    <a:pt x="251451" y="106190"/>
                    <a:pt x="238292" y="128103"/>
                    <a:pt x="238292" y="150016"/>
                  </a:cubicBezTo>
                  <a:cubicBezTo>
                    <a:pt x="233905" y="171929"/>
                    <a:pt x="238292" y="189459"/>
                    <a:pt x="247064" y="206990"/>
                  </a:cubicBezTo>
                  <a:cubicBezTo>
                    <a:pt x="264610" y="237668"/>
                    <a:pt x="290928" y="255198"/>
                    <a:pt x="321633" y="255198"/>
                  </a:cubicBezTo>
                  <a:cubicBezTo>
                    <a:pt x="339179" y="259581"/>
                    <a:pt x="361111" y="255198"/>
                    <a:pt x="378656" y="246433"/>
                  </a:cubicBezTo>
                  <a:cubicBezTo>
                    <a:pt x="378661" y="246430"/>
                    <a:pt x="378743" y="246375"/>
                    <a:pt x="380301" y="245337"/>
                  </a:cubicBezTo>
                  <a:lnTo>
                    <a:pt x="391815" y="237668"/>
                  </a:lnTo>
                  <a:cubicBezTo>
                    <a:pt x="391828" y="237660"/>
                    <a:pt x="393040" y="236988"/>
                    <a:pt x="510248" y="171929"/>
                  </a:cubicBezTo>
                  <a:cubicBezTo>
                    <a:pt x="510264" y="171936"/>
                    <a:pt x="511342" y="172415"/>
                    <a:pt x="589203" y="206990"/>
                  </a:cubicBezTo>
                  <a:cubicBezTo>
                    <a:pt x="589221" y="207002"/>
                    <a:pt x="591665" y="208764"/>
                    <a:pt x="935728" y="456797"/>
                  </a:cubicBezTo>
                  <a:cubicBezTo>
                    <a:pt x="953274" y="469944"/>
                    <a:pt x="957660" y="500622"/>
                    <a:pt x="944501" y="522535"/>
                  </a:cubicBezTo>
                  <a:cubicBezTo>
                    <a:pt x="935728" y="535683"/>
                    <a:pt x="922569" y="544448"/>
                    <a:pt x="905023" y="544448"/>
                  </a:cubicBezTo>
                  <a:cubicBezTo>
                    <a:pt x="905006" y="544435"/>
                    <a:pt x="903345" y="543224"/>
                    <a:pt x="742727" y="426119"/>
                  </a:cubicBezTo>
                  <a:cubicBezTo>
                    <a:pt x="738341" y="421736"/>
                    <a:pt x="733954" y="426119"/>
                    <a:pt x="729568" y="430501"/>
                  </a:cubicBezTo>
                  <a:cubicBezTo>
                    <a:pt x="729568" y="434884"/>
                    <a:pt x="729568" y="439266"/>
                    <a:pt x="733954" y="443649"/>
                  </a:cubicBezTo>
                  <a:cubicBezTo>
                    <a:pt x="733968" y="443659"/>
                    <a:pt x="735318" y="444603"/>
                    <a:pt x="865546" y="535683"/>
                  </a:cubicBezTo>
                  <a:cubicBezTo>
                    <a:pt x="865546" y="548831"/>
                    <a:pt x="865546" y="561978"/>
                    <a:pt x="856773" y="575126"/>
                  </a:cubicBezTo>
                  <a:cubicBezTo>
                    <a:pt x="848000" y="588274"/>
                    <a:pt x="830455" y="597039"/>
                    <a:pt x="817296" y="597039"/>
                  </a:cubicBezTo>
                  <a:cubicBezTo>
                    <a:pt x="817279" y="597027"/>
                    <a:pt x="815676" y="595825"/>
                    <a:pt x="659385" y="478709"/>
                  </a:cubicBezTo>
                  <a:cubicBezTo>
                    <a:pt x="654999" y="478709"/>
                    <a:pt x="646226" y="478709"/>
                    <a:pt x="646226" y="483092"/>
                  </a:cubicBezTo>
                  <a:cubicBezTo>
                    <a:pt x="641840" y="487475"/>
                    <a:pt x="641840" y="491857"/>
                    <a:pt x="646226" y="496240"/>
                  </a:cubicBezTo>
                  <a:cubicBezTo>
                    <a:pt x="646240" y="496250"/>
                    <a:pt x="647593" y="497195"/>
                    <a:pt x="777818" y="588274"/>
                  </a:cubicBezTo>
                  <a:cubicBezTo>
                    <a:pt x="777818" y="601422"/>
                    <a:pt x="777818" y="614569"/>
                    <a:pt x="769045" y="627717"/>
                  </a:cubicBezTo>
                  <a:cubicBezTo>
                    <a:pt x="760272" y="640865"/>
                    <a:pt x="747113" y="645247"/>
                    <a:pt x="729568" y="645247"/>
                  </a:cubicBezTo>
                  <a:cubicBezTo>
                    <a:pt x="729556" y="645239"/>
                    <a:pt x="728412" y="644448"/>
                    <a:pt x="615522" y="566361"/>
                  </a:cubicBezTo>
                  <a:cubicBezTo>
                    <a:pt x="611135" y="561978"/>
                    <a:pt x="606749" y="561978"/>
                    <a:pt x="602362" y="566361"/>
                  </a:cubicBezTo>
                  <a:cubicBezTo>
                    <a:pt x="602362" y="570744"/>
                    <a:pt x="602362" y="575126"/>
                    <a:pt x="606749" y="579509"/>
                  </a:cubicBezTo>
                  <a:cubicBezTo>
                    <a:pt x="606762" y="579519"/>
                    <a:pt x="607701" y="580222"/>
                    <a:pt x="676931" y="632100"/>
                  </a:cubicBezTo>
                  <a:cubicBezTo>
                    <a:pt x="681317" y="645247"/>
                    <a:pt x="676931" y="658395"/>
                    <a:pt x="672545" y="667160"/>
                  </a:cubicBezTo>
                  <a:cubicBezTo>
                    <a:pt x="659385" y="680308"/>
                    <a:pt x="646226" y="689073"/>
                    <a:pt x="633067" y="689073"/>
                  </a:cubicBezTo>
                  <a:cubicBezTo>
                    <a:pt x="633052" y="689062"/>
                    <a:pt x="631983" y="688291"/>
                    <a:pt x="554112" y="632100"/>
                  </a:cubicBezTo>
                  <a:cubicBezTo>
                    <a:pt x="554115" y="632088"/>
                    <a:pt x="554296" y="631243"/>
                    <a:pt x="567271" y="570744"/>
                  </a:cubicBezTo>
                  <a:lnTo>
                    <a:pt x="567271" y="561978"/>
                  </a:lnTo>
                  <a:cubicBezTo>
                    <a:pt x="571658" y="522535"/>
                    <a:pt x="545339" y="487475"/>
                    <a:pt x="505862" y="478709"/>
                  </a:cubicBezTo>
                  <a:cubicBezTo>
                    <a:pt x="501475" y="474327"/>
                    <a:pt x="501475" y="474327"/>
                    <a:pt x="497089" y="474327"/>
                  </a:cubicBezTo>
                  <a:cubicBezTo>
                    <a:pt x="492703" y="474327"/>
                    <a:pt x="488316" y="474327"/>
                    <a:pt x="483930" y="474327"/>
                  </a:cubicBezTo>
                  <a:cubicBezTo>
                    <a:pt x="479543" y="443649"/>
                    <a:pt x="457611" y="421736"/>
                    <a:pt x="426907" y="412971"/>
                  </a:cubicBezTo>
                  <a:lnTo>
                    <a:pt x="418134" y="412971"/>
                  </a:lnTo>
                  <a:cubicBezTo>
                    <a:pt x="396202" y="408588"/>
                    <a:pt x="378656" y="412971"/>
                    <a:pt x="365497" y="421736"/>
                  </a:cubicBezTo>
                  <a:cubicBezTo>
                    <a:pt x="356724" y="412971"/>
                    <a:pt x="343565" y="404206"/>
                    <a:pt x="326019" y="404206"/>
                  </a:cubicBezTo>
                  <a:cubicBezTo>
                    <a:pt x="304087" y="399823"/>
                    <a:pt x="286542" y="404206"/>
                    <a:pt x="273383" y="412971"/>
                  </a:cubicBezTo>
                  <a:cubicBezTo>
                    <a:pt x="260224" y="404206"/>
                    <a:pt x="242678" y="395441"/>
                    <a:pt x="229519" y="395441"/>
                  </a:cubicBezTo>
                  <a:cubicBezTo>
                    <a:pt x="220746" y="395441"/>
                    <a:pt x="211973" y="395441"/>
                    <a:pt x="203200" y="395441"/>
                  </a:cubicBezTo>
                  <a:cubicBezTo>
                    <a:pt x="176882" y="404206"/>
                    <a:pt x="159336" y="417353"/>
                    <a:pt x="150564" y="439266"/>
                  </a:cubicBezTo>
                  <a:cubicBezTo>
                    <a:pt x="150559" y="439265"/>
                    <a:pt x="150477" y="439237"/>
                    <a:pt x="148919" y="438718"/>
                  </a:cubicBezTo>
                  <a:lnTo>
                    <a:pt x="137405" y="434884"/>
                  </a:lnTo>
                  <a:cubicBezTo>
                    <a:pt x="133019" y="263993"/>
                    <a:pt x="225100" y="88722"/>
                    <a:pt x="225132" y="88660"/>
                  </a:cubicBezTo>
                  <a:close/>
                  <a:moveTo>
                    <a:pt x="1057322" y="70805"/>
                  </a:moveTo>
                  <a:cubicBezTo>
                    <a:pt x="1074859" y="66423"/>
                    <a:pt x="1092396" y="75187"/>
                    <a:pt x="1096780" y="97098"/>
                  </a:cubicBezTo>
                  <a:cubicBezTo>
                    <a:pt x="1096781" y="97108"/>
                    <a:pt x="1096985" y="98888"/>
                    <a:pt x="1131854" y="403845"/>
                  </a:cubicBezTo>
                  <a:cubicBezTo>
                    <a:pt x="1131854" y="421374"/>
                    <a:pt x="1118702" y="438902"/>
                    <a:pt x="1096780" y="438902"/>
                  </a:cubicBezTo>
                  <a:cubicBezTo>
                    <a:pt x="1096771" y="438902"/>
                    <a:pt x="1096100" y="438902"/>
                    <a:pt x="1048554" y="438902"/>
                  </a:cubicBezTo>
                  <a:cubicBezTo>
                    <a:pt x="1061704" y="206686"/>
                    <a:pt x="952134" y="97131"/>
                    <a:pt x="952100" y="97098"/>
                  </a:cubicBezTo>
                  <a:cubicBezTo>
                    <a:pt x="952112" y="97095"/>
                    <a:pt x="953204" y="96822"/>
                    <a:pt x="1057322" y="70805"/>
                  </a:cubicBezTo>
                  <a:close/>
                  <a:moveTo>
                    <a:pt x="122047" y="35167"/>
                  </a:moveTo>
                  <a:cubicBezTo>
                    <a:pt x="129706" y="31884"/>
                    <a:pt x="138459" y="31884"/>
                    <a:pt x="147212" y="36261"/>
                  </a:cubicBezTo>
                  <a:cubicBezTo>
                    <a:pt x="147212" y="36261"/>
                    <a:pt x="147212" y="36261"/>
                    <a:pt x="199731" y="66897"/>
                  </a:cubicBezTo>
                  <a:cubicBezTo>
                    <a:pt x="199731" y="66897"/>
                    <a:pt x="99070" y="255088"/>
                    <a:pt x="107823" y="438902"/>
                  </a:cubicBezTo>
                  <a:cubicBezTo>
                    <a:pt x="107823" y="438902"/>
                    <a:pt x="107823" y="438902"/>
                    <a:pt x="24669" y="421396"/>
                  </a:cubicBezTo>
                  <a:cubicBezTo>
                    <a:pt x="7163" y="421396"/>
                    <a:pt x="-5967" y="403890"/>
                    <a:pt x="2786" y="382007"/>
                  </a:cubicBezTo>
                  <a:cubicBezTo>
                    <a:pt x="2786" y="382007"/>
                    <a:pt x="2786" y="382007"/>
                    <a:pt x="103447" y="53767"/>
                  </a:cubicBezTo>
                  <a:cubicBezTo>
                    <a:pt x="107823" y="45014"/>
                    <a:pt x="114388" y="38449"/>
                    <a:pt x="122047" y="35167"/>
                  </a:cubicBezTo>
                  <a:close/>
                  <a:moveTo>
                    <a:pt x="504193" y="396"/>
                  </a:moveTo>
                  <a:cubicBezTo>
                    <a:pt x="514057" y="-702"/>
                    <a:pt x="523921" y="396"/>
                    <a:pt x="532689" y="4788"/>
                  </a:cubicBezTo>
                  <a:cubicBezTo>
                    <a:pt x="532704" y="4794"/>
                    <a:pt x="534620" y="5670"/>
                    <a:pt x="782575" y="118978"/>
                  </a:cubicBezTo>
                  <a:cubicBezTo>
                    <a:pt x="795727" y="127761"/>
                    <a:pt x="808879" y="132153"/>
                    <a:pt x="817647" y="132153"/>
                  </a:cubicBezTo>
                  <a:cubicBezTo>
                    <a:pt x="843945" y="140935"/>
                    <a:pt x="935972" y="123378"/>
                    <a:pt x="936014" y="123370"/>
                  </a:cubicBezTo>
                  <a:cubicBezTo>
                    <a:pt x="936055" y="123413"/>
                    <a:pt x="1028075" y="220037"/>
                    <a:pt x="1019309" y="422019"/>
                  </a:cubicBezTo>
                  <a:cubicBezTo>
                    <a:pt x="1019298" y="422022"/>
                    <a:pt x="1018467" y="422200"/>
                    <a:pt x="957934" y="435195"/>
                  </a:cubicBezTo>
                  <a:lnTo>
                    <a:pt x="953550" y="430803"/>
                  </a:lnTo>
                  <a:cubicBezTo>
                    <a:pt x="953537" y="430794"/>
                    <a:pt x="951879" y="429607"/>
                    <a:pt x="738736" y="277086"/>
                  </a:cubicBezTo>
                  <a:cubicBezTo>
                    <a:pt x="738722" y="277076"/>
                    <a:pt x="737385" y="276094"/>
                    <a:pt x="607217" y="180464"/>
                  </a:cubicBezTo>
                  <a:cubicBezTo>
                    <a:pt x="607206" y="180460"/>
                    <a:pt x="606215" y="180008"/>
                    <a:pt x="510769" y="136545"/>
                  </a:cubicBezTo>
                  <a:cubicBezTo>
                    <a:pt x="510753" y="136554"/>
                    <a:pt x="509245" y="137354"/>
                    <a:pt x="361714" y="215600"/>
                  </a:cubicBezTo>
                  <a:cubicBezTo>
                    <a:pt x="352946" y="224383"/>
                    <a:pt x="339795" y="224383"/>
                    <a:pt x="326643" y="224383"/>
                  </a:cubicBezTo>
                  <a:cubicBezTo>
                    <a:pt x="304723" y="224383"/>
                    <a:pt x="287187" y="211208"/>
                    <a:pt x="278419" y="193640"/>
                  </a:cubicBezTo>
                  <a:cubicBezTo>
                    <a:pt x="260883" y="162897"/>
                    <a:pt x="269651" y="123370"/>
                    <a:pt x="300339" y="105802"/>
                  </a:cubicBezTo>
                  <a:cubicBezTo>
                    <a:pt x="300353" y="105794"/>
                    <a:pt x="301379" y="105250"/>
                    <a:pt x="374866" y="66274"/>
                  </a:cubicBezTo>
                  <a:cubicBezTo>
                    <a:pt x="374877" y="66268"/>
                    <a:pt x="375907" y="65685"/>
                    <a:pt x="475698" y="9180"/>
                  </a:cubicBezTo>
                  <a:cubicBezTo>
                    <a:pt x="484465" y="4788"/>
                    <a:pt x="494329" y="1494"/>
                    <a:pt x="504193" y="396"/>
                  </a:cubicBezTo>
                  <a:close/>
                </a:path>
              </a:pathLst>
            </a:custGeom>
            <a:grpFill/>
            <a:ln>
              <a:noFill/>
            </a:ln>
          </p:spPr>
          <p:txBody>
            <a:bodyPr vert="horz" wrap="square" lIns="91427" tIns="45713" rIns="91427" bIns="45713" numCol="1" anchor="t" anchorCtr="0" compatLnSpc="1">
              <a:prstTxWarp prst="textNoShape">
                <a:avLst/>
              </a:prstTxWarp>
            </a:bodyPr>
            <a:lstStyle/>
            <a:p>
              <a:endParaRPr lang="en-US" sz="136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p:txBody>
        </p:sp>
      </p:grpSp>
      <p:sp>
        <p:nvSpPr>
          <p:cNvPr id="82" name="Chevron 81"/>
          <p:cNvSpPr/>
          <p:nvPr/>
        </p:nvSpPr>
        <p:spPr bwMode="auto">
          <a:xfrm>
            <a:off x="10407810" y="1726860"/>
            <a:ext cx="1648913" cy="752442"/>
          </a:xfrm>
          <a:prstGeom prst="chevron">
            <a:avLst>
              <a:gd name="adj" fmla="val 36288"/>
            </a:avLst>
          </a:prstGeom>
          <a:solidFill>
            <a:srgbClr val="42424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0" rIns="0" bIns="0" numCol="1" spcCol="0" rtlCol="0" fromWordArt="0" anchor="ctr" anchorCtr="0" forceAA="0" compatLnSpc="1">
            <a:prstTxWarp prst="textNoShape">
              <a:avLst/>
            </a:prstTxWarp>
            <a:noAutofit/>
          </a:bodyPr>
          <a:lstStyle/>
          <a:p>
            <a:pPr defTabSz="932418"/>
            <a:r>
              <a:rPr lang="en-US" altLang="en-US" sz="1100" dirty="0">
                <a:solidFill>
                  <a:prstClr val="white"/>
                </a:solidFill>
                <a:latin typeface="Segoe UI Semibold" panose="020B0702040204020203" pitchFamily="34" charset="0"/>
                <a:cs typeface="Segoe UI Semibold" panose="020B0702040204020203" pitchFamily="34" charset="0"/>
              </a:rPr>
              <a:t>Manage </a:t>
            </a:r>
            <a:br>
              <a:rPr lang="en-US" altLang="en-US" sz="1100" dirty="0">
                <a:solidFill>
                  <a:prstClr val="white"/>
                </a:solidFill>
                <a:latin typeface="Segoe UI Semibold" panose="020B0702040204020203" pitchFamily="34" charset="0"/>
                <a:cs typeface="Segoe UI Semibold" panose="020B0702040204020203" pitchFamily="34" charset="0"/>
              </a:rPr>
            </a:br>
            <a:r>
              <a:rPr lang="en-US" altLang="en-US" sz="1100" dirty="0">
                <a:solidFill>
                  <a:prstClr val="white"/>
                </a:solidFill>
                <a:latin typeface="Segoe UI Semibold" panose="020B0702040204020203" pitchFamily="34" charset="0"/>
                <a:cs typeface="Segoe UI Semibold" panose="020B0702040204020203" pitchFamily="34" charset="0"/>
              </a:rPr>
              <a:t>the solution</a:t>
            </a:r>
          </a:p>
        </p:txBody>
      </p:sp>
      <p:sp>
        <p:nvSpPr>
          <p:cNvPr id="83" name="Chevron 52"/>
          <p:cNvSpPr/>
          <p:nvPr/>
        </p:nvSpPr>
        <p:spPr bwMode="auto">
          <a:xfrm>
            <a:off x="8985021" y="1726860"/>
            <a:ext cx="1648913" cy="752442"/>
          </a:xfrm>
          <a:prstGeom prst="chevron">
            <a:avLst>
              <a:gd name="adj" fmla="val 36288"/>
            </a:avLst>
          </a:prstGeom>
          <a:solidFill>
            <a:srgbClr val="42424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0" rIns="0" bIns="0" numCol="1" spcCol="0" rtlCol="0" fromWordArt="0" anchor="ctr" anchorCtr="0" forceAA="0" compatLnSpc="1">
            <a:prstTxWarp prst="textNoShape">
              <a:avLst/>
            </a:prstTxWarp>
            <a:noAutofit/>
          </a:bodyPr>
          <a:lstStyle/>
          <a:p>
            <a:pPr defTabSz="932418"/>
            <a:r>
              <a:rPr lang="en-US" altLang="en-US" sz="1100" dirty="0">
                <a:solidFill>
                  <a:prstClr val="white"/>
                </a:solidFill>
                <a:latin typeface="Segoe UI Semibold" panose="020B0702040204020203" pitchFamily="34" charset="0"/>
                <a:cs typeface="Segoe UI Semibold" panose="020B0702040204020203" pitchFamily="34" charset="0"/>
              </a:rPr>
              <a:t>Present data</a:t>
            </a:r>
          </a:p>
        </p:txBody>
      </p:sp>
      <p:sp>
        <p:nvSpPr>
          <p:cNvPr id="84" name="Chevron 83"/>
          <p:cNvSpPr/>
          <p:nvPr/>
        </p:nvSpPr>
        <p:spPr bwMode="auto">
          <a:xfrm>
            <a:off x="7562233" y="1726860"/>
            <a:ext cx="1648913" cy="752442"/>
          </a:xfrm>
          <a:prstGeom prst="chevron">
            <a:avLst>
              <a:gd name="adj" fmla="val 36288"/>
            </a:avLst>
          </a:prstGeom>
          <a:solidFill>
            <a:srgbClr val="42424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37141" tIns="0" rIns="0" bIns="0" numCol="1" spcCol="0" rtlCol="0" fromWordArt="0" anchor="ctr" anchorCtr="0" forceAA="0" compatLnSpc="1">
            <a:prstTxWarp prst="textNoShape">
              <a:avLst/>
            </a:prstTxWarp>
            <a:noAutofit/>
          </a:bodyPr>
          <a:lstStyle/>
          <a:p>
            <a:pPr defTabSz="932418"/>
            <a:r>
              <a:rPr lang="en-US" altLang="en-US" sz="1100" dirty="0">
                <a:solidFill>
                  <a:prstClr val="white"/>
                </a:solidFill>
                <a:latin typeface="Segoe UI Semibold" panose="020B0702040204020203" pitchFamily="34" charset="0"/>
                <a:cs typeface="Segoe UI Semibold" panose="020B0702040204020203" pitchFamily="34" charset="0"/>
              </a:rPr>
              <a:t>Analyze and </a:t>
            </a:r>
            <a:br>
              <a:rPr lang="en-US" altLang="en-US" sz="1100" dirty="0">
                <a:solidFill>
                  <a:prstClr val="white"/>
                </a:solidFill>
                <a:latin typeface="Segoe UI Semibold" panose="020B0702040204020203" pitchFamily="34" charset="0"/>
                <a:cs typeface="Segoe UI Semibold" panose="020B0702040204020203" pitchFamily="34" charset="0"/>
              </a:rPr>
            </a:br>
            <a:r>
              <a:rPr lang="en-US" altLang="en-US" sz="1100" dirty="0">
                <a:solidFill>
                  <a:prstClr val="white"/>
                </a:solidFill>
                <a:latin typeface="Segoe UI Semibold" panose="020B0702040204020203" pitchFamily="34" charset="0"/>
                <a:cs typeface="Segoe UI Semibold" panose="020B0702040204020203" pitchFamily="34" charset="0"/>
              </a:rPr>
              <a:t>integrate data</a:t>
            </a:r>
          </a:p>
        </p:txBody>
      </p:sp>
      <p:sp>
        <p:nvSpPr>
          <p:cNvPr id="85" name="Chevron 52"/>
          <p:cNvSpPr/>
          <p:nvPr/>
        </p:nvSpPr>
        <p:spPr bwMode="auto">
          <a:xfrm>
            <a:off x="4716658" y="1726860"/>
            <a:ext cx="1648913" cy="752442"/>
          </a:xfrm>
          <a:prstGeom prst="chevron">
            <a:avLst>
              <a:gd name="adj" fmla="val 36288"/>
            </a:avLst>
          </a:prstGeom>
          <a:solidFill>
            <a:srgbClr val="42424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0" rIns="0" bIns="0" numCol="1" spcCol="0" rtlCol="0" fromWordArt="0" anchor="ctr" anchorCtr="0" forceAA="0" compatLnSpc="1">
            <a:prstTxWarp prst="textNoShape">
              <a:avLst/>
            </a:prstTxWarp>
            <a:noAutofit/>
          </a:bodyPr>
          <a:lstStyle/>
          <a:p>
            <a:pPr defTabSz="932418"/>
            <a:r>
              <a:rPr lang="en-US" altLang="en-US" sz="1100" dirty="0">
                <a:solidFill>
                  <a:prstClr val="white"/>
                </a:solidFill>
                <a:latin typeface="Segoe UI Semibold" panose="020B0702040204020203" pitchFamily="34" charset="0"/>
                <a:cs typeface="Segoe UI Semibold" panose="020B0702040204020203" pitchFamily="34" charset="0"/>
              </a:rPr>
              <a:t>Collect data</a:t>
            </a:r>
          </a:p>
        </p:txBody>
      </p:sp>
      <p:sp>
        <p:nvSpPr>
          <p:cNvPr id="86" name="Chevron 52"/>
          <p:cNvSpPr/>
          <p:nvPr/>
        </p:nvSpPr>
        <p:spPr bwMode="auto">
          <a:xfrm>
            <a:off x="6139445" y="1726860"/>
            <a:ext cx="1648913" cy="752442"/>
          </a:xfrm>
          <a:prstGeom prst="chevron">
            <a:avLst>
              <a:gd name="adj" fmla="val 36288"/>
            </a:avLst>
          </a:prstGeom>
          <a:solidFill>
            <a:srgbClr val="42424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0" rIns="0" bIns="0" numCol="1" spcCol="0" rtlCol="0" fromWordArt="0" anchor="ctr" anchorCtr="0" forceAA="0" compatLnSpc="1">
            <a:prstTxWarp prst="textNoShape">
              <a:avLst/>
            </a:prstTxWarp>
            <a:noAutofit/>
          </a:bodyPr>
          <a:lstStyle/>
          <a:p>
            <a:pPr defTabSz="932418"/>
            <a:r>
              <a:rPr lang="en-US" altLang="en-US" sz="1100" dirty="0">
                <a:solidFill>
                  <a:prstClr val="white"/>
                </a:solidFill>
                <a:latin typeface="Segoe UI Semibold" panose="020B0702040204020203" pitchFamily="34" charset="0"/>
                <a:cs typeface="Segoe UI Semibold" panose="020B0702040204020203" pitchFamily="34" charset="0"/>
              </a:rPr>
              <a:t>Set up rules and alerts</a:t>
            </a:r>
          </a:p>
        </p:txBody>
      </p:sp>
      <p:sp>
        <p:nvSpPr>
          <p:cNvPr id="87" name="Chevron 52"/>
          <p:cNvSpPr/>
          <p:nvPr/>
        </p:nvSpPr>
        <p:spPr bwMode="auto">
          <a:xfrm>
            <a:off x="3293870" y="1726860"/>
            <a:ext cx="1648913" cy="752442"/>
          </a:xfrm>
          <a:prstGeom prst="chevron">
            <a:avLst>
              <a:gd name="adj" fmla="val 36288"/>
            </a:avLst>
          </a:prstGeom>
          <a:solidFill>
            <a:srgbClr val="42424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37141" tIns="0" rIns="0" bIns="0" numCol="1" spcCol="0" rtlCol="0" fromWordArt="0" anchor="ctr" anchorCtr="0" forceAA="0" compatLnSpc="1">
            <a:prstTxWarp prst="textNoShape">
              <a:avLst/>
            </a:prstTxWarp>
            <a:noAutofit/>
          </a:bodyPr>
          <a:lstStyle/>
          <a:p>
            <a:pPr defTabSz="932418"/>
            <a:r>
              <a:rPr lang="en-US" altLang="en-US" sz="1100" dirty="0">
                <a:solidFill>
                  <a:prstClr val="white"/>
                </a:solidFill>
                <a:latin typeface="Segoe UI Semibold" panose="020B0702040204020203" pitchFamily="34" charset="0"/>
                <a:cs typeface="Segoe UI Semibold" panose="020B0702040204020203" pitchFamily="34" charset="0"/>
              </a:rPr>
              <a:t>Connect </a:t>
            </a:r>
            <a:br>
              <a:rPr lang="en-US" altLang="en-US" sz="1100" dirty="0">
                <a:solidFill>
                  <a:prstClr val="white"/>
                </a:solidFill>
                <a:latin typeface="Segoe UI Semibold" panose="020B0702040204020203" pitchFamily="34" charset="0"/>
                <a:cs typeface="Segoe UI Semibold" panose="020B0702040204020203" pitchFamily="34" charset="0"/>
              </a:rPr>
            </a:br>
            <a:r>
              <a:rPr lang="en-US" altLang="en-US" sz="1100" dirty="0">
                <a:solidFill>
                  <a:prstClr val="white"/>
                </a:solidFill>
                <a:latin typeface="Segoe UI Semibold" panose="020B0702040204020203" pitchFamily="34" charset="0"/>
                <a:cs typeface="Segoe UI Semibold" panose="020B0702040204020203" pitchFamily="34" charset="0"/>
              </a:rPr>
              <a:t>endpoints </a:t>
            </a:r>
          </a:p>
          <a:p>
            <a:pPr defTabSz="932418"/>
            <a:r>
              <a:rPr lang="en-US" altLang="en-US" sz="1100" dirty="0">
                <a:solidFill>
                  <a:prstClr val="white"/>
                </a:solidFill>
                <a:latin typeface="Segoe UI Semibold" panose="020B0702040204020203" pitchFamily="34" charset="0"/>
                <a:cs typeface="Segoe UI Semibold" panose="020B0702040204020203" pitchFamily="34" charset="0"/>
              </a:rPr>
              <a:t>and systems</a:t>
            </a:r>
          </a:p>
        </p:txBody>
      </p:sp>
      <p:sp>
        <p:nvSpPr>
          <p:cNvPr id="88" name="Chevron 52"/>
          <p:cNvSpPr/>
          <p:nvPr/>
        </p:nvSpPr>
        <p:spPr bwMode="auto">
          <a:xfrm>
            <a:off x="448294" y="1726860"/>
            <a:ext cx="1648913" cy="752442"/>
          </a:xfrm>
          <a:prstGeom prst="homePlate">
            <a:avLst>
              <a:gd name="adj" fmla="val 36289"/>
            </a:avLst>
          </a:prstGeom>
          <a:solidFill>
            <a:srgbClr val="42424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0" rIns="0" bIns="0" numCol="1" spcCol="0" rtlCol="0" fromWordArt="0" anchor="ctr" anchorCtr="0" forceAA="0" compatLnSpc="1">
            <a:prstTxWarp prst="textNoShape">
              <a:avLst/>
            </a:prstTxWarp>
            <a:noAutofit/>
          </a:bodyPr>
          <a:lstStyle/>
          <a:p>
            <a:pPr defTabSz="932418">
              <a:defRPr/>
            </a:pPr>
            <a:r>
              <a:rPr lang="en-US" sz="1100" dirty="0">
                <a:solidFill>
                  <a:prstClr val="white"/>
                </a:solidFill>
                <a:latin typeface="Segoe UI Semibold" panose="020B0702040204020203" pitchFamily="34" charset="0"/>
                <a:cs typeface="Segoe UI Semibold" panose="020B0702040204020203" pitchFamily="34" charset="0"/>
              </a:rPr>
              <a:t>Define business outcomes</a:t>
            </a:r>
          </a:p>
        </p:txBody>
      </p:sp>
      <p:sp>
        <p:nvSpPr>
          <p:cNvPr id="89" name="Chevron 52"/>
          <p:cNvSpPr/>
          <p:nvPr/>
        </p:nvSpPr>
        <p:spPr bwMode="auto">
          <a:xfrm>
            <a:off x="1871083" y="1726860"/>
            <a:ext cx="1648913" cy="752442"/>
          </a:xfrm>
          <a:prstGeom prst="chevron">
            <a:avLst>
              <a:gd name="adj" fmla="val 36288"/>
            </a:avLst>
          </a:prstGeom>
          <a:solidFill>
            <a:srgbClr val="42424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37141" tIns="0" rIns="0" bIns="0" numCol="1" spcCol="0" rtlCol="0" fromWordArt="0" anchor="ctr" anchorCtr="0" forceAA="0" compatLnSpc="1">
            <a:prstTxWarp prst="textNoShape">
              <a:avLst/>
            </a:prstTxWarp>
            <a:noAutofit/>
          </a:bodyPr>
          <a:lstStyle/>
          <a:p>
            <a:pPr defTabSz="932418"/>
            <a:r>
              <a:rPr lang="en-US" altLang="en-US" sz="1100" dirty="0">
                <a:solidFill>
                  <a:prstClr val="white"/>
                </a:solidFill>
                <a:latin typeface="Segoe UI Semibold" panose="020B0702040204020203" pitchFamily="34" charset="0"/>
                <a:cs typeface="Segoe UI Semibold" panose="020B0702040204020203" pitchFamily="34" charset="0"/>
              </a:rPr>
              <a:t>Architect </a:t>
            </a:r>
            <a:br>
              <a:rPr lang="en-US" altLang="en-US" sz="1100" dirty="0">
                <a:solidFill>
                  <a:prstClr val="white"/>
                </a:solidFill>
                <a:latin typeface="Segoe UI Semibold" panose="020B0702040204020203" pitchFamily="34" charset="0"/>
                <a:cs typeface="Segoe UI Semibold" panose="020B0702040204020203" pitchFamily="34" charset="0"/>
              </a:rPr>
            </a:br>
            <a:r>
              <a:rPr lang="en-US" altLang="en-US" sz="1100" dirty="0">
                <a:solidFill>
                  <a:prstClr val="white"/>
                </a:solidFill>
                <a:latin typeface="Segoe UI Semibold" panose="020B0702040204020203" pitchFamily="34" charset="0"/>
                <a:cs typeface="Segoe UI Semibold" panose="020B0702040204020203" pitchFamily="34" charset="0"/>
              </a:rPr>
              <a:t>solution</a:t>
            </a:r>
          </a:p>
        </p:txBody>
      </p:sp>
      <p:sp>
        <p:nvSpPr>
          <p:cNvPr id="90" name="Rectangle 89"/>
          <p:cNvSpPr/>
          <p:nvPr/>
        </p:nvSpPr>
        <p:spPr>
          <a:xfrm>
            <a:off x="336927" y="1001530"/>
            <a:ext cx="11208750" cy="461665"/>
          </a:xfrm>
          <a:prstGeom prst="rect">
            <a:avLst/>
          </a:prstGeom>
          <a:noFill/>
        </p:spPr>
        <p:txBody>
          <a:bodyPr wrap="squar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0664" fontAlgn="base">
              <a:spcBef>
                <a:spcPct val="0"/>
              </a:spcBef>
              <a:spcAft>
                <a:spcPct val="0"/>
              </a:spcAft>
            </a:pPr>
            <a:r>
              <a:rPr lang="en-US" sz="2400" dirty="0">
                <a:solidFill>
                  <a:srgbClr val="0072C6"/>
                </a:solidFill>
                <a:latin typeface="Segoe UI Light"/>
              </a:rPr>
              <a:t>Offers can be pivoted to the following key initiatives – tailor make to your solution</a:t>
            </a:r>
          </a:p>
        </p:txBody>
      </p:sp>
      <p:pic>
        <p:nvPicPr>
          <p:cNvPr id="2" name="Picture 1"/>
          <p:cNvPicPr>
            <a:picLocks noChangeAspect="1"/>
          </p:cNvPicPr>
          <p:nvPr/>
        </p:nvPicPr>
        <p:blipFill>
          <a:blip r:embed="rId3"/>
          <a:stretch>
            <a:fillRect/>
          </a:stretch>
        </p:blipFill>
        <p:spPr>
          <a:xfrm>
            <a:off x="3398873" y="5058363"/>
            <a:ext cx="396579" cy="367254"/>
          </a:xfrm>
          <a:prstGeom prst="rect">
            <a:avLst/>
          </a:prstGeom>
        </p:spPr>
      </p:pic>
    </p:spTree>
    <p:extLst>
      <p:ext uri="{BB962C8B-B14F-4D97-AF65-F5344CB8AC3E}">
        <p14:creationId xmlns:p14="http://schemas.microsoft.com/office/powerpoint/2010/main" val="3714131539"/>
      </p:ext>
    </p:extLst>
  </p:cSld>
  <p:clrMapOvr>
    <a:masterClrMapping/>
  </p:clrMapOvr>
  <p:transition spd="slow">
    <p:push dir="u"/>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499879" y="2429199"/>
            <a:ext cx="8243725" cy="4187848"/>
            <a:chOff x="470716" y="614508"/>
            <a:chExt cx="11318963" cy="5323530"/>
          </a:xfrm>
          <a:solidFill>
            <a:srgbClr val="00B0F0"/>
          </a:solidFill>
        </p:grpSpPr>
        <p:sp>
          <p:nvSpPr>
            <p:cNvPr id="5" name="Rectangle 4"/>
            <p:cNvSpPr/>
            <p:nvPr/>
          </p:nvSpPr>
          <p:spPr>
            <a:xfrm>
              <a:off x="2461770" y="4229269"/>
              <a:ext cx="2181404" cy="17087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r>
                <a:rPr lang="en-CA" sz="1961" kern="0" dirty="0">
                  <a:solidFill>
                    <a:srgbClr val="FFFFFF"/>
                  </a:solidFill>
                  <a:latin typeface="Segoe UI Light" panose="020B0502040204020203" pitchFamily="34" charset="0"/>
                  <a:cs typeface="Segoe UI Light" panose="020B0502040204020203" pitchFamily="34" charset="0"/>
                </a:rPr>
                <a:t>Systems Integration</a:t>
              </a:r>
            </a:p>
          </p:txBody>
        </p:sp>
        <p:sp>
          <p:nvSpPr>
            <p:cNvPr id="6" name="Rectangle 5"/>
            <p:cNvSpPr/>
            <p:nvPr/>
          </p:nvSpPr>
          <p:spPr>
            <a:xfrm>
              <a:off x="7162933" y="2208100"/>
              <a:ext cx="2177740" cy="372993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r>
                <a:rPr lang="en-CA" sz="1961" kern="0" dirty="0">
                  <a:solidFill>
                    <a:srgbClr val="FFFFFF"/>
                  </a:solidFill>
                  <a:latin typeface="Segoe UI Light" panose="020B0502040204020203" pitchFamily="34" charset="0"/>
                  <a:cs typeface="Segoe UI Light" panose="020B0502040204020203" pitchFamily="34" charset="0"/>
                </a:rPr>
                <a:t>Data Analytics Services</a:t>
              </a:r>
            </a:p>
          </p:txBody>
        </p:sp>
        <p:sp>
          <p:nvSpPr>
            <p:cNvPr id="7" name="Rectangle 6"/>
            <p:cNvSpPr/>
            <p:nvPr/>
          </p:nvSpPr>
          <p:spPr>
            <a:xfrm>
              <a:off x="4734686" y="3320538"/>
              <a:ext cx="2336734" cy="261749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r>
                <a:rPr lang="en-CA" sz="1961" kern="0" dirty="0">
                  <a:solidFill>
                    <a:srgbClr val="FFFFFF"/>
                  </a:solidFill>
                  <a:latin typeface="Segoe UI Light" panose="020B0502040204020203" pitchFamily="34" charset="0"/>
                  <a:cs typeface="Segoe UI Light" panose="020B0502040204020203" pitchFamily="34" charset="0"/>
                </a:rPr>
                <a:t>Application Development</a:t>
              </a:r>
            </a:p>
          </p:txBody>
        </p:sp>
        <p:sp>
          <p:nvSpPr>
            <p:cNvPr id="8" name="Rectangle 7"/>
            <p:cNvSpPr/>
            <p:nvPr/>
          </p:nvSpPr>
          <p:spPr>
            <a:xfrm>
              <a:off x="9432183" y="1288615"/>
              <a:ext cx="2028463" cy="46494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r>
                <a:rPr lang="en-CA" sz="1961" kern="0" dirty="0">
                  <a:solidFill>
                    <a:srgbClr val="FFFFFF"/>
                  </a:solidFill>
                  <a:latin typeface="Segoe UI Light" panose="020B0502040204020203" pitchFamily="34" charset="0"/>
                  <a:cs typeface="Segoe UI Light" panose="020B0502040204020203" pitchFamily="34" charset="0"/>
                </a:rPr>
                <a:t>Managed Services</a:t>
              </a:r>
            </a:p>
          </p:txBody>
        </p:sp>
        <p:sp>
          <p:nvSpPr>
            <p:cNvPr id="11" name="Rectangle 10"/>
            <p:cNvSpPr/>
            <p:nvPr/>
          </p:nvSpPr>
          <p:spPr>
            <a:xfrm>
              <a:off x="470716" y="614508"/>
              <a:ext cx="10989931" cy="59758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r>
                <a:rPr lang="en-CA" sz="1765" kern="0" dirty="0">
                  <a:solidFill>
                    <a:srgbClr val="FFFFFF"/>
                  </a:solidFill>
                  <a:latin typeface="Segoe UI Light" panose="020B0502040204020203" pitchFamily="34" charset="0"/>
                  <a:cs typeface="Segoe UI Light" panose="020B0502040204020203" pitchFamily="34" charset="0"/>
                </a:rPr>
                <a:t>Consultancy Opportunity Spectrum</a:t>
              </a:r>
            </a:p>
          </p:txBody>
        </p:sp>
        <p:grpSp>
          <p:nvGrpSpPr>
            <p:cNvPr id="19" name="Group 18"/>
            <p:cNvGrpSpPr/>
            <p:nvPr/>
          </p:nvGrpSpPr>
          <p:grpSpPr>
            <a:xfrm>
              <a:off x="11789679" y="888875"/>
              <a:ext cx="0" cy="5049163"/>
              <a:chOff x="11790469" y="832180"/>
              <a:chExt cx="0" cy="5106203"/>
            </a:xfrm>
            <a:grpFill/>
          </p:grpSpPr>
          <p:cxnSp>
            <p:nvCxnSpPr>
              <p:cNvPr id="20" name="Straight Arrow Connector 19"/>
              <p:cNvCxnSpPr>
                <a:cxnSpLocks/>
              </p:cNvCxnSpPr>
              <p:nvPr/>
            </p:nvCxnSpPr>
            <p:spPr>
              <a:xfrm flipV="1">
                <a:off x="11790469" y="832180"/>
                <a:ext cx="0" cy="1372721"/>
              </a:xfrm>
              <a:prstGeom prst="straightConnector1">
                <a:avLst/>
              </a:prstGeom>
              <a:grpFill/>
              <a:ln w="57150" cap="sq">
                <a:solidFill>
                  <a:srgbClr val="0070C0"/>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a:cxnSpLocks/>
              </p:cNvCxnSpPr>
              <p:nvPr/>
            </p:nvCxnSpPr>
            <p:spPr>
              <a:xfrm flipV="1">
                <a:off x="11790469" y="4898078"/>
                <a:ext cx="0" cy="1040305"/>
              </a:xfrm>
              <a:prstGeom prst="straightConnector1">
                <a:avLst/>
              </a:prstGeom>
              <a:grpFill/>
              <a:ln w="57150" cap="sq">
                <a:solidFill>
                  <a:srgbClr val="0070C0"/>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sp>
          <p:nvSpPr>
            <p:cNvPr id="22" name="Rectangle 21"/>
            <p:cNvSpPr/>
            <p:nvPr/>
          </p:nvSpPr>
          <p:spPr>
            <a:xfrm>
              <a:off x="470716" y="4534471"/>
              <a:ext cx="1923574" cy="140356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CA" sz="1961" kern="0" dirty="0">
                <a:solidFill>
                  <a:srgbClr val="FFFFFF"/>
                </a:solidFill>
                <a:latin typeface="Segoe UI Light" panose="020B0502040204020203" pitchFamily="34" charset="0"/>
                <a:cs typeface="Segoe UI Light" panose="020B0502040204020203" pitchFamily="34" charset="0"/>
              </a:endParaRPr>
            </a:p>
            <a:p>
              <a:pPr algn="ctr" defTabSz="914225">
                <a:defRPr/>
              </a:pPr>
              <a:r>
                <a:rPr lang="en-CA" sz="1961" kern="0" dirty="0">
                  <a:solidFill>
                    <a:srgbClr val="FFFFFF"/>
                  </a:solidFill>
                  <a:latin typeface="Segoe UI Light" panose="020B0502040204020203" pitchFamily="34" charset="0"/>
                  <a:cs typeface="Segoe UI Light" panose="020B0502040204020203" pitchFamily="34" charset="0"/>
                </a:rPr>
                <a:t>Data Migration</a:t>
              </a:r>
            </a:p>
          </p:txBody>
        </p:sp>
      </p:grpSp>
      <p:sp>
        <p:nvSpPr>
          <p:cNvPr id="4" name="Rectangle 3"/>
          <p:cNvSpPr/>
          <p:nvPr/>
        </p:nvSpPr>
        <p:spPr>
          <a:xfrm>
            <a:off x="8637370" y="4073581"/>
            <a:ext cx="3370021" cy="1991393"/>
          </a:xfrm>
          <a:prstGeom prst="rect">
            <a:avLst/>
          </a:prstGeom>
        </p:spPr>
        <p:txBody>
          <a:bodyPr wrap="square">
            <a:spAutoFit/>
          </a:bodyPr>
          <a:lstStyle/>
          <a:p>
            <a:pPr marL="280121" indent="-280121">
              <a:buFont typeface="Arial" panose="020B0604020202020204" pitchFamily="34" charset="0"/>
              <a:buChar char="•"/>
            </a:pPr>
            <a:r>
              <a:rPr lang="en-US" sz="1765" dirty="0"/>
              <a:t>Building more differentiated offers</a:t>
            </a:r>
          </a:p>
          <a:p>
            <a:pPr marL="280121" indent="-280121">
              <a:buFont typeface="Arial" panose="020B0604020202020204" pitchFamily="34" charset="0"/>
              <a:buChar char="•"/>
            </a:pPr>
            <a:r>
              <a:rPr lang="en-US" sz="1765" dirty="0"/>
              <a:t>Delivers stronger margins to the partner</a:t>
            </a:r>
          </a:p>
          <a:p>
            <a:pPr marL="280121" indent="-280121">
              <a:buFont typeface="Arial" panose="020B0604020202020204" pitchFamily="34" charset="0"/>
              <a:buChar char="•"/>
            </a:pPr>
            <a:r>
              <a:rPr lang="en-US" sz="1765" dirty="0"/>
              <a:t>Increase customer satisfaction with solution to address their needs</a:t>
            </a:r>
          </a:p>
        </p:txBody>
      </p:sp>
      <p:sp>
        <p:nvSpPr>
          <p:cNvPr id="9" name="Rectangle 8"/>
          <p:cNvSpPr/>
          <p:nvPr/>
        </p:nvSpPr>
        <p:spPr>
          <a:xfrm>
            <a:off x="8637370" y="3762317"/>
            <a:ext cx="3212662" cy="362072"/>
          </a:xfrm>
          <a:prstGeom prst="rect">
            <a:avLst/>
          </a:prstGeom>
        </p:spPr>
        <p:txBody>
          <a:bodyPr wrap="square">
            <a:spAutoFit/>
          </a:bodyPr>
          <a:lstStyle/>
          <a:p>
            <a:r>
              <a:rPr lang="en-US" sz="1765" b="1" dirty="0"/>
              <a:t>Why Integrated Offers?</a:t>
            </a:r>
          </a:p>
        </p:txBody>
      </p:sp>
      <p:sp>
        <p:nvSpPr>
          <p:cNvPr id="23" name="Title 1"/>
          <p:cNvSpPr txBox="1">
            <a:spLocks/>
          </p:cNvSpPr>
          <p:nvPr/>
        </p:nvSpPr>
        <p:spPr>
          <a:xfrm>
            <a:off x="-1556" y="240739"/>
            <a:ext cx="11655840" cy="899537"/>
          </a:xfrm>
          <a:prstGeom prst="rect">
            <a:avLst/>
          </a:prstGeom>
        </p:spPr>
        <p:txBody>
          <a:bodyPr vert="horz" wrap="square" lIns="143428" tIns="89642" rIns="143428" bIns="89642" rtlCol="0" anchor="t">
            <a:noAutofit/>
          </a:bodyPr>
          <a:lst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2">
              <a:defRPr/>
            </a:pPr>
            <a:r>
              <a:rPr lang="en-US" sz="4400" dirty="0">
                <a:solidFill>
                  <a:srgbClr val="42424E"/>
                </a:solidFill>
                <a:latin typeface="Segoe UI Light" panose="020B0502040204020203" pitchFamily="34" charset="0"/>
                <a:cs typeface="Segoe UI Light" panose="020B0502040204020203" pitchFamily="34" charset="0"/>
              </a:rPr>
              <a:t>Offer Spectrum</a:t>
            </a:r>
          </a:p>
        </p:txBody>
      </p:sp>
      <p:pic>
        <p:nvPicPr>
          <p:cNvPr id="24" name="Picture 23">
            <a:extLst>
              <a:ext uri="{FF2B5EF4-FFF2-40B4-BE49-F238E27FC236}">
                <a16:creationId xmlns:a16="http://schemas.microsoft.com/office/drawing/2014/main" id="{3EAD6DBE-5496-4A75-8159-E0B8453322E1}"/>
              </a:ext>
            </a:extLst>
          </p:cNvPr>
          <p:cNvPicPr>
            <a:picLocks noChangeAspect="1"/>
          </p:cNvPicPr>
          <p:nvPr/>
        </p:nvPicPr>
        <p:blipFill>
          <a:blip r:embed="rId3"/>
          <a:stretch>
            <a:fillRect/>
          </a:stretch>
        </p:blipFill>
        <p:spPr>
          <a:xfrm>
            <a:off x="7571798" y="3623518"/>
            <a:ext cx="396579" cy="367254"/>
          </a:xfrm>
          <a:prstGeom prst="rect">
            <a:avLst/>
          </a:prstGeom>
        </p:spPr>
      </p:pic>
      <p:sp>
        <p:nvSpPr>
          <p:cNvPr id="25" name="Freeform 15">
            <a:extLst>
              <a:ext uri="{FF2B5EF4-FFF2-40B4-BE49-F238E27FC236}">
                <a16:creationId xmlns:a16="http://schemas.microsoft.com/office/drawing/2014/main" id="{888FD0BC-3DE9-4035-A471-2895A7DD941B}"/>
              </a:ext>
            </a:extLst>
          </p:cNvPr>
          <p:cNvSpPr>
            <a:spLocks noEditPoints="1"/>
          </p:cNvSpPr>
          <p:nvPr/>
        </p:nvSpPr>
        <p:spPr bwMode="auto">
          <a:xfrm>
            <a:off x="5985726" y="3807146"/>
            <a:ext cx="362410" cy="372056"/>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chemeClr val="bg1"/>
          </a:solidFill>
          <a:ln>
            <a:noFill/>
          </a:ln>
        </p:spPr>
        <p:txBody>
          <a:bodyPr vert="horz" wrap="square" lIns="91427" tIns="45713" rIns="91427" bIns="45713" numCol="1" anchor="t" anchorCtr="0" compatLnSpc="1">
            <a:prstTxWarp prst="textNoShape">
              <a:avLst/>
            </a:prstTxWarp>
          </a:bodyPr>
          <a:lstStyle/>
          <a:p>
            <a:endParaRPr lang="en-US" sz="1369" dirty="0">
              <a:solidFill>
                <a:srgbClr val="008272"/>
              </a:solidFill>
              <a:latin typeface="Segoe UI Semilight" panose="020B0402040204020203" pitchFamily="34" charset="0"/>
              <a:cs typeface="Segoe UI Semilight" panose="020B0402040204020203" pitchFamily="34" charset="0"/>
            </a:endParaRPr>
          </a:p>
        </p:txBody>
      </p:sp>
      <p:sp>
        <p:nvSpPr>
          <p:cNvPr id="26" name="Freeform 73">
            <a:extLst>
              <a:ext uri="{FF2B5EF4-FFF2-40B4-BE49-F238E27FC236}">
                <a16:creationId xmlns:a16="http://schemas.microsoft.com/office/drawing/2014/main" id="{CBCBEEFC-101C-4E96-B78A-C6DBFEFD2237}"/>
              </a:ext>
            </a:extLst>
          </p:cNvPr>
          <p:cNvSpPr/>
          <p:nvPr/>
        </p:nvSpPr>
        <p:spPr bwMode="auto">
          <a:xfrm>
            <a:off x="2545652" y="5363998"/>
            <a:ext cx="425337" cy="331366"/>
          </a:xfrm>
          <a:custGeom>
            <a:avLst/>
            <a:gdLst/>
            <a:ahLst/>
            <a:cxnLst/>
            <a:rect l="l" t="t" r="r" b="b"/>
            <a:pathLst>
              <a:path w="5073508" h="2985296">
                <a:moveTo>
                  <a:pt x="1891430" y="1569855"/>
                </a:moveTo>
                <a:lnTo>
                  <a:pt x="2401866" y="1923715"/>
                </a:lnTo>
                <a:cubicBezTo>
                  <a:pt x="2186836" y="2066720"/>
                  <a:pt x="1264085" y="2738950"/>
                  <a:pt x="676406" y="2615778"/>
                </a:cubicBezTo>
                <a:lnTo>
                  <a:pt x="670143" y="2985296"/>
                </a:lnTo>
                <a:lnTo>
                  <a:pt x="0" y="2280707"/>
                </a:lnTo>
                <a:lnTo>
                  <a:pt x="673274" y="1576118"/>
                </a:lnTo>
                <a:lnTo>
                  <a:pt x="676406" y="1948767"/>
                </a:lnTo>
                <a:cubicBezTo>
                  <a:pt x="1072019" y="1972775"/>
                  <a:pt x="1520870" y="1780710"/>
                  <a:pt x="1891430" y="1569855"/>
                </a:cubicBezTo>
                <a:close/>
                <a:moveTo>
                  <a:pt x="692255" y="20924"/>
                </a:moveTo>
                <a:lnTo>
                  <a:pt x="698193" y="365309"/>
                </a:lnTo>
                <a:cubicBezTo>
                  <a:pt x="2093544" y="340570"/>
                  <a:pt x="3064352" y="1935821"/>
                  <a:pt x="4397357" y="1974415"/>
                </a:cubicBezTo>
                <a:cubicBezTo>
                  <a:pt x="4395378" y="1845766"/>
                  <a:pt x="4393398" y="1717117"/>
                  <a:pt x="4391419" y="1588468"/>
                </a:cubicBezTo>
                <a:lnTo>
                  <a:pt x="5068313" y="2259423"/>
                </a:lnTo>
                <a:lnTo>
                  <a:pt x="4385481" y="2948192"/>
                </a:lnTo>
                <a:lnTo>
                  <a:pt x="4379544" y="2621620"/>
                </a:lnTo>
                <a:cubicBezTo>
                  <a:pt x="2817939" y="2651309"/>
                  <a:pt x="2016353" y="1006575"/>
                  <a:pt x="674442" y="1000638"/>
                </a:cubicBezTo>
                <a:cubicBezTo>
                  <a:pt x="676421" y="1131267"/>
                  <a:pt x="678401" y="1261895"/>
                  <a:pt x="680380" y="1392524"/>
                </a:cubicBezTo>
                <a:lnTo>
                  <a:pt x="3487" y="674067"/>
                </a:lnTo>
                <a:close/>
                <a:moveTo>
                  <a:pt x="4403365" y="0"/>
                </a:moveTo>
                <a:lnTo>
                  <a:pt x="5073508" y="704589"/>
                </a:lnTo>
                <a:lnTo>
                  <a:pt x="4400234" y="1409178"/>
                </a:lnTo>
                <a:lnTo>
                  <a:pt x="4397102" y="1036529"/>
                </a:lnTo>
                <a:cubicBezTo>
                  <a:pt x="4001489" y="1012521"/>
                  <a:pt x="3552638" y="1204586"/>
                  <a:pt x="3182078" y="1415441"/>
                </a:cubicBezTo>
                <a:lnTo>
                  <a:pt x="2671642" y="1061581"/>
                </a:lnTo>
                <a:cubicBezTo>
                  <a:pt x="2886672" y="918576"/>
                  <a:pt x="3809423" y="246346"/>
                  <a:pt x="4397102" y="369518"/>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endParaRPr lang="en-US" sz="1369" spc="-50" dirty="0">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endParaRPr>
          </a:p>
        </p:txBody>
      </p:sp>
      <p:sp>
        <p:nvSpPr>
          <p:cNvPr id="27" name="Donut 59">
            <a:extLst>
              <a:ext uri="{FF2B5EF4-FFF2-40B4-BE49-F238E27FC236}">
                <a16:creationId xmlns:a16="http://schemas.microsoft.com/office/drawing/2014/main" id="{4CE778CD-19B5-48D2-BEED-5C6980C3410C}"/>
              </a:ext>
            </a:extLst>
          </p:cNvPr>
          <p:cNvSpPr>
            <a:spLocks noChangeAspect="1"/>
          </p:cNvSpPr>
          <p:nvPr/>
        </p:nvSpPr>
        <p:spPr bwMode="auto">
          <a:xfrm>
            <a:off x="4219114" y="4735073"/>
            <a:ext cx="474390" cy="387416"/>
          </a:xfrm>
          <a:custGeom>
            <a:avLst/>
            <a:gdLst/>
            <a:ahLst/>
            <a:cxnLst/>
            <a:rect l="l" t="t" r="r" b="b"/>
            <a:pathLst>
              <a:path w="1049699" h="873224">
                <a:moveTo>
                  <a:pt x="694504" y="413534"/>
                </a:moveTo>
                <a:cubicBezTo>
                  <a:pt x="732475" y="413534"/>
                  <a:pt x="763257" y="444315"/>
                  <a:pt x="763257" y="482286"/>
                </a:cubicBezTo>
                <a:cubicBezTo>
                  <a:pt x="763257" y="520258"/>
                  <a:pt x="732475" y="551039"/>
                  <a:pt x="694504" y="551039"/>
                </a:cubicBezTo>
                <a:cubicBezTo>
                  <a:pt x="656533" y="551039"/>
                  <a:pt x="625751" y="520258"/>
                  <a:pt x="625751" y="482286"/>
                </a:cubicBezTo>
                <a:cubicBezTo>
                  <a:pt x="625751" y="444315"/>
                  <a:pt x="656533" y="413534"/>
                  <a:pt x="694504" y="413534"/>
                </a:cubicBezTo>
                <a:close/>
                <a:moveTo>
                  <a:pt x="694504" y="344781"/>
                </a:moveTo>
                <a:cubicBezTo>
                  <a:pt x="618562" y="344781"/>
                  <a:pt x="556998" y="406344"/>
                  <a:pt x="556998" y="482286"/>
                </a:cubicBezTo>
                <a:cubicBezTo>
                  <a:pt x="556998" y="558229"/>
                  <a:pt x="618562" y="619792"/>
                  <a:pt x="694504" y="619792"/>
                </a:cubicBezTo>
                <a:cubicBezTo>
                  <a:pt x="770446" y="619792"/>
                  <a:pt x="832010" y="558229"/>
                  <a:pt x="832010" y="482286"/>
                </a:cubicBezTo>
                <a:cubicBezTo>
                  <a:pt x="832010" y="406344"/>
                  <a:pt x="770446" y="344781"/>
                  <a:pt x="694504" y="344781"/>
                </a:cubicBezTo>
                <a:close/>
                <a:moveTo>
                  <a:pt x="197661" y="172436"/>
                </a:moveTo>
                <a:cubicBezTo>
                  <a:pt x="219463" y="172436"/>
                  <a:pt x="237138" y="190111"/>
                  <a:pt x="237138" y="211913"/>
                </a:cubicBezTo>
                <a:cubicBezTo>
                  <a:pt x="237138" y="233716"/>
                  <a:pt x="219463" y="251390"/>
                  <a:pt x="197661" y="251390"/>
                </a:cubicBezTo>
                <a:cubicBezTo>
                  <a:pt x="175858" y="251390"/>
                  <a:pt x="158183" y="233716"/>
                  <a:pt x="158183" y="211913"/>
                </a:cubicBezTo>
                <a:cubicBezTo>
                  <a:pt x="158183" y="190111"/>
                  <a:pt x="175858" y="172436"/>
                  <a:pt x="197661" y="172436"/>
                </a:cubicBezTo>
                <a:close/>
                <a:moveTo>
                  <a:pt x="197661" y="132959"/>
                </a:moveTo>
                <a:cubicBezTo>
                  <a:pt x="154055" y="132959"/>
                  <a:pt x="118706" y="168308"/>
                  <a:pt x="118706" y="211913"/>
                </a:cubicBezTo>
                <a:cubicBezTo>
                  <a:pt x="118706" y="255519"/>
                  <a:pt x="154055" y="290868"/>
                  <a:pt x="197661" y="290868"/>
                </a:cubicBezTo>
                <a:cubicBezTo>
                  <a:pt x="241266" y="290868"/>
                  <a:pt x="276615" y="255519"/>
                  <a:pt x="276615" y="211913"/>
                </a:cubicBezTo>
                <a:cubicBezTo>
                  <a:pt x="276615" y="168308"/>
                  <a:pt x="241266" y="132959"/>
                  <a:pt x="197661" y="132959"/>
                </a:cubicBezTo>
                <a:close/>
                <a:moveTo>
                  <a:pt x="735148" y="113222"/>
                </a:moveTo>
                <a:lnTo>
                  <a:pt x="750778" y="185510"/>
                </a:lnTo>
                <a:lnTo>
                  <a:pt x="825020" y="210909"/>
                </a:lnTo>
                <a:lnTo>
                  <a:pt x="869956" y="162065"/>
                </a:lnTo>
                <a:lnTo>
                  <a:pt x="938336" y="208955"/>
                </a:lnTo>
                <a:lnTo>
                  <a:pt x="912938" y="277336"/>
                </a:lnTo>
                <a:lnTo>
                  <a:pt x="950059" y="332040"/>
                </a:lnTo>
                <a:lnTo>
                  <a:pt x="1026254" y="332040"/>
                </a:lnTo>
                <a:lnTo>
                  <a:pt x="1049699" y="418004"/>
                </a:lnTo>
                <a:lnTo>
                  <a:pt x="996948" y="459033"/>
                </a:lnTo>
                <a:lnTo>
                  <a:pt x="996948" y="523506"/>
                </a:lnTo>
                <a:lnTo>
                  <a:pt x="1045792" y="568442"/>
                </a:lnTo>
                <a:lnTo>
                  <a:pt x="1028208" y="646591"/>
                </a:lnTo>
                <a:lnTo>
                  <a:pt x="944197" y="648545"/>
                </a:lnTo>
                <a:lnTo>
                  <a:pt x="914891" y="695434"/>
                </a:lnTo>
                <a:lnTo>
                  <a:pt x="932475" y="767723"/>
                </a:lnTo>
                <a:lnTo>
                  <a:pt x="869956" y="814612"/>
                </a:lnTo>
                <a:lnTo>
                  <a:pt x="813297" y="769676"/>
                </a:lnTo>
                <a:lnTo>
                  <a:pt x="750778" y="797029"/>
                </a:lnTo>
                <a:lnTo>
                  <a:pt x="737102" y="865409"/>
                </a:lnTo>
                <a:lnTo>
                  <a:pt x="656998" y="873224"/>
                </a:lnTo>
                <a:lnTo>
                  <a:pt x="637461" y="789214"/>
                </a:lnTo>
                <a:lnTo>
                  <a:pt x="572988" y="769676"/>
                </a:lnTo>
                <a:lnTo>
                  <a:pt x="518283" y="814612"/>
                </a:lnTo>
                <a:lnTo>
                  <a:pt x="463579" y="765769"/>
                </a:lnTo>
                <a:lnTo>
                  <a:pt x="483116" y="701296"/>
                </a:lnTo>
                <a:lnTo>
                  <a:pt x="442088" y="646591"/>
                </a:lnTo>
                <a:lnTo>
                  <a:pt x="365892" y="644637"/>
                </a:lnTo>
                <a:lnTo>
                  <a:pt x="350262" y="568442"/>
                </a:lnTo>
                <a:lnTo>
                  <a:pt x="410828" y="537182"/>
                </a:lnTo>
                <a:lnTo>
                  <a:pt x="408874" y="460987"/>
                </a:lnTo>
                <a:lnTo>
                  <a:pt x="350262" y="412143"/>
                </a:lnTo>
                <a:lnTo>
                  <a:pt x="371753" y="339855"/>
                </a:lnTo>
                <a:lnTo>
                  <a:pt x="444041" y="341809"/>
                </a:lnTo>
                <a:lnTo>
                  <a:pt x="485070" y="296873"/>
                </a:lnTo>
                <a:lnTo>
                  <a:pt x="459671" y="208955"/>
                </a:lnTo>
                <a:lnTo>
                  <a:pt x="516330" y="164019"/>
                </a:lnTo>
                <a:lnTo>
                  <a:pt x="582757" y="208955"/>
                </a:lnTo>
                <a:lnTo>
                  <a:pt x="637461" y="189418"/>
                </a:lnTo>
                <a:lnTo>
                  <a:pt x="658952" y="115176"/>
                </a:lnTo>
                <a:close/>
                <a:moveTo>
                  <a:pt x="220998" y="0"/>
                </a:moveTo>
                <a:lnTo>
                  <a:pt x="229972" y="41507"/>
                </a:lnTo>
                <a:lnTo>
                  <a:pt x="272601" y="56091"/>
                </a:lnTo>
                <a:lnTo>
                  <a:pt x="298403" y="28045"/>
                </a:lnTo>
                <a:lnTo>
                  <a:pt x="337667" y="54969"/>
                </a:lnTo>
                <a:lnTo>
                  <a:pt x="323083" y="94233"/>
                </a:lnTo>
                <a:lnTo>
                  <a:pt x="344398" y="125643"/>
                </a:lnTo>
                <a:lnTo>
                  <a:pt x="388148" y="125643"/>
                </a:lnTo>
                <a:lnTo>
                  <a:pt x="401610" y="175003"/>
                </a:lnTo>
                <a:lnTo>
                  <a:pt x="371321" y="198561"/>
                </a:lnTo>
                <a:lnTo>
                  <a:pt x="371321" y="235581"/>
                </a:lnTo>
                <a:lnTo>
                  <a:pt x="399366" y="261383"/>
                </a:lnTo>
                <a:lnTo>
                  <a:pt x="389270" y="306256"/>
                </a:lnTo>
                <a:lnTo>
                  <a:pt x="341032" y="307377"/>
                </a:lnTo>
                <a:lnTo>
                  <a:pt x="324205" y="334301"/>
                </a:lnTo>
                <a:lnTo>
                  <a:pt x="334301" y="375808"/>
                </a:lnTo>
                <a:lnTo>
                  <a:pt x="298403" y="402732"/>
                </a:lnTo>
                <a:lnTo>
                  <a:pt x="265870" y="376930"/>
                </a:lnTo>
                <a:lnTo>
                  <a:pt x="229972" y="392635"/>
                </a:lnTo>
                <a:lnTo>
                  <a:pt x="222120" y="431899"/>
                </a:lnTo>
                <a:lnTo>
                  <a:pt x="176125" y="436386"/>
                </a:lnTo>
                <a:lnTo>
                  <a:pt x="164907" y="388148"/>
                </a:lnTo>
                <a:lnTo>
                  <a:pt x="127887" y="376930"/>
                </a:lnTo>
                <a:lnTo>
                  <a:pt x="96476" y="402732"/>
                </a:lnTo>
                <a:lnTo>
                  <a:pt x="65065" y="374686"/>
                </a:lnTo>
                <a:lnTo>
                  <a:pt x="76284" y="337666"/>
                </a:lnTo>
                <a:lnTo>
                  <a:pt x="52725" y="306256"/>
                </a:lnTo>
                <a:lnTo>
                  <a:pt x="8975" y="305134"/>
                </a:lnTo>
                <a:lnTo>
                  <a:pt x="0" y="261383"/>
                </a:lnTo>
                <a:lnTo>
                  <a:pt x="34776" y="243434"/>
                </a:lnTo>
                <a:lnTo>
                  <a:pt x="33655" y="199683"/>
                </a:lnTo>
                <a:lnTo>
                  <a:pt x="0" y="171638"/>
                </a:lnTo>
                <a:lnTo>
                  <a:pt x="12340" y="130131"/>
                </a:lnTo>
                <a:lnTo>
                  <a:pt x="53847" y="131252"/>
                </a:lnTo>
                <a:lnTo>
                  <a:pt x="77405" y="105451"/>
                </a:lnTo>
                <a:lnTo>
                  <a:pt x="62822" y="54969"/>
                </a:lnTo>
                <a:lnTo>
                  <a:pt x="95354" y="29167"/>
                </a:lnTo>
                <a:lnTo>
                  <a:pt x="133496" y="54969"/>
                </a:lnTo>
                <a:lnTo>
                  <a:pt x="164907" y="43751"/>
                </a:lnTo>
                <a:lnTo>
                  <a:pt x="177247" y="1122"/>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endParaRPr lang="en-US" sz="1369" spc="-50" dirty="0">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endParaRPr>
          </a:p>
        </p:txBody>
      </p:sp>
      <p:sp>
        <p:nvSpPr>
          <p:cNvPr id="28" name="Freeform 26">
            <a:extLst>
              <a:ext uri="{FF2B5EF4-FFF2-40B4-BE49-F238E27FC236}">
                <a16:creationId xmlns:a16="http://schemas.microsoft.com/office/drawing/2014/main" id="{036BFF6E-A7AD-4EDB-BB90-EA801E0E3A1B}"/>
              </a:ext>
            </a:extLst>
          </p:cNvPr>
          <p:cNvSpPr>
            <a:spLocks/>
          </p:cNvSpPr>
          <p:nvPr/>
        </p:nvSpPr>
        <p:spPr bwMode="auto">
          <a:xfrm>
            <a:off x="2246793" y="2110428"/>
            <a:ext cx="511528" cy="318771"/>
          </a:xfrm>
          <a:custGeom>
            <a:avLst/>
            <a:gdLst/>
            <a:ahLst/>
            <a:cxnLst/>
            <a:rect l="l" t="t" r="r" b="b"/>
            <a:pathLst>
              <a:path w="1131854" h="689073">
                <a:moveTo>
                  <a:pt x="212048" y="426589"/>
                </a:moveTo>
                <a:cubicBezTo>
                  <a:pt x="233959" y="422223"/>
                  <a:pt x="260251" y="439687"/>
                  <a:pt x="269016" y="465882"/>
                </a:cubicBezTo>
                <a:cubicBezTo>
                  <a:pt x="273398" y="444052"/>
                  <a:pt x="299690" y="430955"/>
                  <a:pt x="321601" y="435321"/>
                </a:cubicBezTo>
                <a:cubicBezTo>
                  <a:pt x="343511" y="439687"/>
                  <a:pt x="361040" y="461516"/>
                  <a:pt x="361040" y="483345"/>
                </a:cubicBezTo>
                <a:cubicBezTo>
                  <a:pt x="365422" y="452784"/>
                  <a:pt x="391715" y="439687"/>
                  <a:pt x="418007" y="444052"/>
                </a:cubicBezTo>
                <a:cubicBezTo>
                  <a:pt x="444300" y="448418"/>
                  <a:pt x="461828" y="474613"/>
                  <a:pt x="453064" y="500808"/>
                </a:cubicBezTo>
                <a:cubicBezTo>
                  <a:pt x="453063" y="500819"/>
                  <a:pt x="452983" y="501378"/>
                  <a:pt x="448682" y="531369"/>
                </a:cubicBezTo>
                <a:cubicBezTo>
                  <a:pt x="457446" y="513906"/>
                  <a:pt x="479357" y="505174"/>
                  <a:pt x="501267" y="509540"/>
                </a:cubicBezTo>
                <a:cubicBezTo>
                  <a:pt x="523178" y="513906"/>
                  <a:pt x="540706" y="540101"/>
                  <a:pt x="536324" y="566296"/>
                </a:cubicBezTo>
                <a:cubicBezTo>
                  <a:pt x="536321" y="566308"/>
                  <a:pt x="536101" y="567241"/>
                  <a:pt x="518796" y="640516"/>
                </a:cubicBezTo>
                <a:cubicBezTo>
                  <a:pt x="510031" y="666711"/>
                  <a:pt x="488121" y="679808"/>
                  <a:pt x="466210" y="679808"/>
                </a:cubicBezTo>
                <a:cubicBezTo>
                  <a:pt x="435536" y="671076"/>
                  <a:pt x="422389" y="649247"/>
                  <a:pt x="422389" y="627418"/>
                </a:cubicBezTo>
                <a:cubicBezTo>
                  <a:pt x="413625" y="640516"/>
                  <a:pt x="396097" y="649247"/>
                  <a:pt x="378568" y="649247"/>
                </a:cubicBezTo>
                <a:cubicBezTo>
                  <a:pt x="347893" y="640516"/>
                  <a:pt x="330365" y="614320"/>
                  <a:pt x="334747" y="592491"/>
                </a:cubicBezTo>
                <a:lnTo>
                  <a:pt x="339129" y="588125"/>
                </a:lnTo>
                <a:cubicBezTo>
                  <a:pt x="325983" y="601223"/>
                  <a:pt x="308455" y="609955"/>
                  <a:pt x="290926" y="609955"/>
                </a:cubicBezTo>
                <a:cubicBezTo>
                  <a:pt x="269016" y="605589"/>
                  <a:pt x="255869" y="592491"/>
                  <a:pt x="251487" y="575028"/>
                </a:cubicBezTo>
                <a:cubicBezTo>
                  <a:pt x="247105" y="579394"/>
                  <a:pt x="247105" y="579394"/>
                  <a:pt x="242723" y="579394"/>
                </a:cubicBezTo>
                <a:cubicBezTo>
                  <a:pt x="238341" y="579394"/>
                  <a:pt x="233959" y="579394"/>
                  <a:pt x="229577" y="579394"/>
                </a:cubicBezTo>
                <a:cubicBezTo>
                  <a:pt x="207666" y="579394"/>
                  <a:pt x="190138" y="561930"/>
                  <a:pt x="185756" y="544467"/>
                </a:cubicBezTo>
                <a:cubicBezTo>
                  <a:pt x="185754" y="544458"/>
                  <a:pt x="185592" y="543707"/>
                  <a:pt x="172609" y="483345"/>
                </a:cubicBezTo>
                <a:cubicBezTo>
                  <a:pt x="168227" y="457150"/>
                  <a:pt x="185756" y="435321"/>
                  <a:pt x="212048" y="426589"/>
                </a:cubicBezTo>
                <a:close/>
                <a:moveTo>
                  <a:pt x="225132" y="88660"/>
                </a:moveTo>
                <a:cubicBezTo>
                  <a:pt x="225162" y="88660"/>
                  <a:pt x="242700" y="88660"/>
                  <a:pt x="268996" y="88660"/>
                </a:cubicBezTo>
                <a:cubicBezTo>
                  <a:pt x="251451" y="106190"/>
                  <a:pt x="238292" y="128103"/>
                  <a:pt x="238292" y="150016"/>
                </a:cubicBezTo>
                <a:cubicBezTo>
                  <a:pt x="233905" y="171929"/>
                  <a:pt x="238292" y="189459"/>
                  <a:pt x="247064" y="206990"/>
                </a:cubicBezTo>
                <a:cubicBezTo>
                  <a:pt x="264610" y="237668"/>
                  <a:pt x="290928" y="255198"/>
                  <a:pt x="321633" y="255198"/>
                </a:cubicBezTo>
                <a:cubicBezTo>
                  <a:pt x="339179" y="259581"/>
                  <a:pt x="361111" y="255198"/>
                  <a:pt x="378656" y="246433"/>
                </a:cubicBezTo>
                <a:cubicBezTo>
                  <a:pt x="378661" y="246430"/>
                  <a:pt x="378743" y="246375"/>
                  <a:pt x="380301" y="245337"/>
                </a:cubicBezTo>
                <a:lnTo>
                  <a:pt x="391815" y="237668"/>
                </a:lnTo>
                <a:cubicBezTo>
                  <a:pt x="391828" y="237660"/>
                  <a:pt x="393040" y="236988"/>
                  <a:pt x="510248" y="171929"/>
                </a:cubicBezTo>
                <a:cubicBezTo>
                  <a:pt x="510264" y="171936"/>
                  <a:pt x="511342" y="172415"/>
                  <a:pt x="589203" y="206990"/>
                </a:cubicBezTo>
                <a:cubicBezTo>
                  <a:pt x="589221" y="207002"/>
                  <a:pt x="591665" y="208764"/>
                  <a:pt x="935728" y="456797"/>
                </a:cubicBezTo>
                <a:cubicBezTo>
                  <a:pt x="953274" y="469944"/>
                  <a:pt x="957660" y="500622"/>
                  <a:pt x="944501" y="522535"/>
                </a:cubicBezTo>
                <a:cubicBezTo>
                  <a:pt x="935728" y="535683"/>
                  <a:pt x="922569" y="544448"/>
                  <a:pt x="905023" y="544448"/>
                </a:cubicBezTo>
                <a:cubicBezTo>
                  <a:pt x="905006" y="544435"/>
                  <a:pt x="903345" y="543224"/>
                  <a:pt x="742727" y="426119"/>
                </a:cubicBezTo>
                <a:cubicBezTo>
                  <a:pt x="738341" y="421736"/>
                  <a:pt x="733954" y="426119"/>
                  <a:pt x="729568" y="430501"/>
                </a:cubicBezTo>
                <a:cubicBezTo>
                  <a:pt x="729568" y="434884"/>
                  <a:pt x="729568" y="439266"/>
                  <a:pt x="733954" y="443649"/>
                </a:cubicBezTo>
                <a:cubicBezTo>
                  <a:pt x="733968" y="443659"/>
                  <a:pt x="735318" y="444603"/>
                  <a:pt x="865546" y="535683"/>
                </a:cubicBezTo>
                <a:cubicBezTo>
                  <a:pt x="865546" y="548831"/>
                  <a:pt x="865546" y="561978"/>
                  <a:pt x="856773" y="575126"/>
                </a:cubicBezTo>
                <a:cubicBezTo>
                  <a:pt x="848000" y="588274"/>
                  <a:pt x="830455" y="597039"/>
                  <a:pt x="817296" y="597039"/>
                </a:cubicBezTo>
                <a:cubicBezTo>
                  <a:pt x="817279" y="597027"/>
                  <a:pt x="815676" y="595825"/>
                  <a:pt x="659385" y="478709"/>
                </a:cubicBezTo>
                <a:cubicBezTo>
                  <a:pt x="654999" y="478709"/>
                  <a:pt x="646226" y="478709"/>
                  <a:pt x="646226" y="483092"/>
                </a:cubicBezTo>
                <a:cubicBezTo>
                  <a:pt x="641840" y="487475"/>
                  <a:pt x="641840" y="491857"/>
                  <a:pt x="646226" y="496240"/>
                </a:cubicBezTo>
                <a:cubicBezTo>
                  <a:pt x="646240" y="496250"/>
                  <a:pt x="647593" y="497195"/>
                  <a:pt x="777818" y="588274"/>
                </a:cubicBezTo>
                <a:cubicBezTo>
                  <a:pt x="777818" y="601422"/>
                  <a:pt x="777818" y="614569"/>
                  <a:pt x="769045" y="627717"/>
                </a:cubicBezTo>
                <a:cubicBezTo>
                  <a:pt x="760272" y="640865"/>
                  <a:pt x="747113" y="645247"/>
                  <a:pt x="729568" y="645247"/>
                </a:cubicBezTo>
                <a:cubicBezTo>
                  <a:pt x="729556" y="645239"/>
                  <a:pt x="728412" y="644448"/>
                  <a:pt x="615522" y="566361"/>
                </a:cubicBezTo>
                <a:cubicBezTo>
                  <a:pt x="611135" y="561978"/>
                  <a:pt x="606749" y="561978"/>
                  <a:pt x="602362" y="566361"/>
                </a:cubicBezTo>
                <a:cubicBezTo>
                  <a:pt x="602362" y="570744"/>
                  <a:pt x="602362" y="575126"/>
                  <a:pt x="606749" y="579509"/>
                </a:cubicBezTo>
                <a:cubicBezTo>
                  <a:pt x="606762" y="579519"/>
                  <a:pt x="607701" y="580222"/>
                  <a:pt x="676931" y="632100"/>
                </a:cubicBezTo>
                <a:cubicBezTo>
                  <a:pt x="681317" y="645247"/>
                  <a:pt x="676931" y="658395"/>
                  <a:pt x="672545" y="667160"/>
                </a:cubicBezTo>
                <a:cubicBezTo>
                  <a:pt x="659385" y="680308"/>
                  <a:pt x="646226" y="689073"/>
                  <a:pt x="633067" y="689073"/>
                </a:cubicBezTo>
                <a:cubicBezTo>
                  <a:pt x="633052" y="689062"/>
                  <a:pt x="631983" y="688291"/>
                  <a:pt x="554112" y="632100"/>
                </a:cubicBezTo>
                <a:cubicBezTo>
                  <a:pt x="554115" y="632088"/>
                  <a:pt x="554296" y="631243"/>
                  <a:pt x="567271" y="570744"/>
                </a:cubicBezTo>
                <a:lnTo>
                  <a:pt x="567271" y="561978"/>
                </a:lnTo>
                <a:cubicBezTo>
                  <a:pt x="571658" y="522535"/>
                  <a:pt x="545339" y="487475"/>
                  <a:pt x="505862" y="478709"/>
                </a:cubicBezTo>
                <a:cubicBezTo>
                  <a:pt x="501475" y="474327"/>
                  <a:pt x="501475" y="474327"/>
                  <a:pt x="497089" y="474327"/>
                </a:cubicBezTo>
                <a:cubicBezTo>
                  <a:pt x="492703" y="474327"/>
                  <a:pt x="488316" y="474327"/>
                  <a:pt x="483930" y="474327"/>
                </a:cubicBezTo>
                <a:cubicBezTo>
                  <a:pt x="479543" y="443649"/>
                  <a:pt x="457611" y="421736"/>
                  <a:pt x="426907" y="412971"/>
                </a:cubicBezTo>
                <a:lnTo>
                  <a:pt x="418134" y="412971"/>
                </a:lnTo>
                <a:cubicBezTo>
                  <a:pt x="396202" y="408588"/>
                  <a:pt x="378656" y="412971"/>
                  <a:pt x="365497" y="421736"/>
                </a:cubicBezTo>
                <a:cubicBezTo>
                  <a:pt x="356724" y="412971"/>
                  <a:pt x="343565" y="404206"/>
                  <a:pt x="326019" y="404206"/>
                </a:cubicBezTo>
                <a:cubicBezTo>
                  <a:pt x="304087" y="399823"/>
                  <a:pt x="286542" y="404206"/>
                  <a:pt x="273383" y="412971"/>
                </a:cubicBezTo>
                <a:cubicBezTo>
                  <a:pt x="260224" y="404206"/>
                  <a:pt x="242678" y="395441"/>
                  <a:pt x="229519" y="395441"/>
                </a:cubicBezTo>
                <a:cubicBezTo>
                  <a:pt x="220746" y="395441"/>
                  <a:pt x="211973" y="395441"/>
                  <a:pt x="203200" y="395441"/>
                </a:cubicBezTo>
                <a:cubicBezTo>
                  <a:pt x="176882" y="404206"/>
                  <a:pt x="159336" y="417353"/>
                  <a:pt x="150564" y="439266"/>
                </a:cubicBezTo>
                <a:cubicBezTo>
                  <a:pt x="150559" y="439265"/>
                  <a:pt x="150477" y="439237"/>
                  <a:pt x="148919" y="438718"/>
                </a:cubicBezTo>
                <a:lnTo>
                  <a:pt x="137405" y="434884"/>
                </a:lnTo>
                <a:cubicBezTo>
                  <a:pt x="133019" y="263993"/>
                  <a:pt x="225100" y="88722"/>
                  <a:pt x="225132" y="88660"/>
                </a:cubicBezTo>
                <a:close/>
                <a:moveTo>
                  <a:pt x="1057322" y="70805"/>
                </a:moveTo>
                <a:cubicBezTo>
                  <a:pt x="1074859" y="66423"/>
                  <a:pt x="1092396" y="75187"/>
                  <a:pt x="1096780" y="97098"/>
                </a:cubicBezTo>
                <a:cubicBezTo>
                  <a:pt x="1096781" y="97108"/>
                  <a:pt x="1096985" y="98888"/>
                  <a:pt x="1131854" y="403845"/>
                </a:cubicBezTo>
                <a:cubicBezTo>
                  <a:pt x="1131854" y="421374"/>
                  <a:pt x="1118702" y="438902"/>
                  <a:pt x="1096780" y="438902"/>
                </a:cubicBezTo>
                <a:cubicBezTo>
                  <a:pt x="1096771" y="438902"/>
                  <a:pt x="1096100" y="438902"/>
                  <a:pt x="1048554" y="438902"/>
                </a:cubicBezTo>
                <a:cubicBezTo>
                  <a:pt x="1061704" y="206686"/>
                  <a:pt x="952134" y="97131"/>
                  <a:pt x="952100" y="97098"/>
                </a:cubicBezTo>
                <a:cubicBezTo>
                  <a:pt x="952112" y="97095"/>
                  <a:pt x="953204" y="96822"/>
                  <a:pt x="1057322" y="70805"/>
                </a:cubicBezTo>
                <a:close/>
                <a:moveTo>
                  <a:pt x="122047" y="35167"/>
                </a:moveTo>
                <a:cubicBezTo>
                  <a:pt x="129706" y="31884"/>
                  <a:pt x="138459" y="31884"/>
                  <a:pt x="147212" y="36261"/>
                </a:cubicBezTo>
                <a:cubicBezTo>
                  <a:pt x="147212" y="36261"/>
                  <a:pt x="147212" y="36261"/>
                  <a:pt x="199731" y="66897"/>
                </a:cubicBezTo>
                <a:cubicBezTo>
                  <a:pt x="199731" y="66897"/>
                  <a:pt x="99070" y="255088"/>
                  <a:pt x="107823" y="438902"/>
                </a:cubicBezTo>
                <a:cubicBezTo>
                  <a:pt x="107823" y="438902"/>
                  <a:pt x="107823" y="438902"/>
                  <a:pt x="24669" y="421396"/>
                </a:cubicBezTo>
                <a:cubicBezTo>
                  <a:pt x="7163" y="421396"/>
                  <a:pt x="-5967" y="403890"/>
                  <a:pt x="2786" y="382007"/>
                </a:cubicBezTo>
                <a:cubicBezTo>
                  <a:pt x="2786" y="382007"/>
                  <a:pt x="2786" y="382007"/>
                  <a:pt x="103447" y="53767"/>
                </a:cubicBezTo>
                <a:cubicBezTo>
                  <a:pt x="107823" y="45014"/>
                  <a:pt x="114388" y="38449"/>
                  <a:pt x="122047" y="35167"/>
                </a:cubicBezTo>
                <a:close/>
                <a:moveTo>
                  <a:pt x="504193" y="396"/>
                </a:moveTo>
                <a:cubicBezTo>
                  <a:pt x="514057" y="-702"/>
                  <a:pt x="523921" y="396"/>
                  <a:pt x="532689" y="4788"/>
                </a:cubicBezTo>
                <a:cubicBezTo>
                  <a:pt x="532704" y="4794"/>
                  <a:pt x="534620" y="5670"/>
                  <a:pt x="782575" y="118978"/>
                </a:cubicBezTo>
                <a:cubicBezTo>
                  <a:pt x="795727" y="127761"/>
                  <a:pt x="808879" y="132153"/>
                  <a:pt x="817647" y="132153"/>
                </a:cubicBezTo>
                <a:cubicBezTo>
                  <a:pt x="843945" y="140935"/>
                  <a:pt x="935972" y="123378"/>
                  <a:pt x="936014" y="123370"/>
                </a:cubicBezTo>
                <a:cubicBezTo>
                  <a:pt x="936055" y="123413"/>
                  <a:pt x="1028075" y="220037"/>
                  <a:pt x="1019309" y="422019"/>
                </a:cubicBezTo>
                <a:cubicBezTo>
                  <a:pt x="1019298" y="422022"/>
                  <a:pt x="1018467" y="422200"/>
                  <a:pt x="957934" y="435195"/>
                </a:cubicBezTo>
                <a:lnTo>
                  <a:pt x="953550" y="430803"/>
                </a:lnTo>
                <a:cubicBezTo>
                  <a:pt x="953537" y="430794"/>
                  <a:pt x="951879" y="429607"/>
                  <a:pt x="738736" y="277086"/>
                </a:cubicBezTo>
                <a:cubicBezTo>
                  <a:pt x="738722" y="277076"/>
                  <a:pt x="737385" y="276094"/>
                  <a:pt x="607217" y="180464"/>
                </a:cubicBezTo>
                <a:cubicBezTo>
                  <a:pt x="607206" y="180460"/>
                  <a:pt x="606215" y="180008"/>
                  <a:pt x="510769" y="136545"/>
                </a:cubicBezTo>
                <a:cubicBezTo>
                  <a:pt x="510753" y="136554"/>
                  <a:pt x="509245" y="137354"/>
                  <a:pt x="361714" y="215600"/>
                </a:cubicBezTo>
                <a:cubicBezTo>
                  <a:pt x="352946" y="224383"/>
                  <a:pt x="339795" y="224383"/>
                  <a:pt x="326643" y="224383"/>
                </a:cubicBezTo>
                <a:cubicBezTo>
                  <a:pt x="304723" y="224383"/>
                  <a:pt x="287187" y="211208"/>
                  <a:pt x="278419" y="193640"/>
                </a:cubicBezTo>
                <a:cubicBezTo>
                  <a:pt x="260883" y="162897"/>
                  <a:pt x="269651" y="123370"/>
                  <a:pt x="300339" y="105802"/>
                </a:cubicBezTo>
                <a:cubicBezTo>
                  <a:pt x="300353" y="105794"/>
                  <a:pt x="301379" y="105250"/>
                  <a:pt x="374866" y="66274"/>
                </a:cubicBezTo>
                <a:cubicBezTo>
                  <a:pt x="374877" y="66268"/>
                  <a:pt x="375907" y="65685"/>
                  <a:pt x="475698" y="9180"/>
                </a:cubicBezTo>
                <a:cubicBezTo>
                  <a:pt x="484465" y="4788"/>
                  <a:pt x="494329" y="1494"/>
                  <a:pt x="504193" y="396"/>
                </a:cubicBezTo>
                <a:close/>
              </a:path>
            </a:pathLst>
          </a:custGeom>
          <a:solidFill>
            <a:schemeClr val="bg1"/>
          </a:solidFill>
          <a:ln>
            <a:noFill/>
          </a:ln>
        </p:spPr>
        <p:txBody>
          <a:bodyPr vert="horz" wrap="square" lIns="91427" tIns="45713" rIns="91427" bIns="45713" numCol="1" anchor="t" anchorCtr="0" compatLnSpc="1">
            <a:prstTxWarp prst="textNoShape">
              <a:avLst/>
            </a:prstTxWarp>
          </a:bodyPr>
          <a:lstStyle/>
          <a:p>
            <a:endParaRPr lang="en-US" sz="136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p:txBody>
      </p:sp>
      <p:sp>
        <p:nvSpPr>
          <p:cNvPr id="29" name="Rectangle 28">
            <a:extLst>
              <a:ext uri="{FF2B5EF4-FFF2-40B4-BE49-F238E27FC236}">
                <a16:creationId xmlns:a16="http://schemas.microsoft.com/office/drawing/2014/main" id="{4BAB0106-FC28-429D-988E-2E21EB1C05B6}"/>
              </a:ext>
            </a:extLst>
          </p:cNvPr>
          <p:cNvSpPr/>
          <p:nvPr/>
        </p:nvSpPr>
        <p:spPr>
          <a:xfrm>
            <a:off x="499879" y="6254205"/>
            <a:ext cx="7999146" cy="470097"/>
          </a:xfrm>
          <a:prstGeom prst="rect">
            <a:avLst/>
          </a:prstGeom>
          <a:solidFill>
            <a:srgbClr val="0070C0"/>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r>
              <a:rPr lang="en-CA" sz="1765" kern="0" dirty="0">
                <a:solidFill>
                  <a:srgbClr val="FFFFFF"/>
                </a:solidFill>
                <a:latin typeface="Segoe UI Light" panose="020B0502040204020203" pitchFamily="34" charset="0"/>
                <a:cs typeface="Segoe UI Light" panose="020B0502040204020203" pitchFamily="34" charset="0"/>
              </a:rPr>
              <a:t>Increased Revenue Opportunity</a:t>
            </a:r>
          </a:p>
        </p:txBody>
      </p:sp>
      <p:pic>
        <p:nvPicPr>
          <p:cNvPr id="33" name="Picture 32">
            <a:extLst>
              <a:ext uri="{FF2B5EF4-FFF2-40B4-BE49-F238E27FC236}">
                <a16:creationId xmlns:a16="http://schemas.microsoft.com/office/drawing/2014/main" id="{42C63727-45EA-4C8C-A222-F424C9A3CF46}"/>
              </a:ext>
            </a:extLst>
          </p:cNvPr>
          <p:cNvPicPr>
            <a:picLocks noChangeAspect="1"/>
          </p:cNvPicPr>
          <p:nvPr/>
        </p:nvPicPr>
        <p:blipFill>
          <a:blip r:embed="rId4">
            <a:duotone>
              <a:schemeClr val="bg2">
                <a:shade val="45000"/>
                <a:satMod val="135000"/>
              </a:schemeClr>
              <a:prstClr val="white"/>
            </a:duotone>
            <a:lum bright="33000"/>
          </a:blip>
          <a:stretch>
            <a:fillRect/>
          </a:stretch>
        </p:blipFill>
        <p:spPr>
          <a:xfrm>
            <a:off x="2246793" y="6254204"/>
            <a:ext cx="460663" cy="460663"/>
          </a:xfrm>
          <a:prstGeom prst="rect">
            <a:avLst/>
          </a:prstGeom>
        </p:spPr>
      </p:pic>
      <p:pic>
        <p:nvPicPr>
          <p:cNvPr id="34" name="Picture 33">
            <a:extLst>
              <a:ext uri="{FF2B5EF4-FFF2-40B4-BE49-F238E27FC236}">
                <a16:creationId xmlns:a16="http://schemas.microsoft.com/office/drawing/2014/main" id="{FE76470F-AD2A-44A1-8503-D42D30365CB2}"/>
              </a:ext>
            </a:extLst>
          </p:cNvPr>
          <p:cNvPicPr>
            <a:picLocks noChangeAspect="1"/>
          </p:cNvPicPr>
          <p:nvPr/>
        </p:nvPicPr>
        <p:blipFill>
          <a:blip r:embed="rId5">
            <a:duotone>
              <a:schemeClr val="bg2">
                <a:shade val="45000"/>
                <a:satMod val="135000"/>
              </a:schemeClr>
              <a:prstClr val="white"/>
            </a:duotone>
            <a:lum bright="100000"/>
          </a:blip>
          <a:stretch>
            <a:fillRect/>
          </a:stretch>
        </p:blipFill>
        <p:spPr>
          <a:xfrm>
            <a:off x="1009215" y="5567697"/>
            <a:ext cx="382288" cy="382288"/>
          </a:xfrm>
          <a:prstGeom prst="rect">
            <a:avLst/>
          </a:prstGeom>
        </p:spPr>
      </p:pic>
      <p:sp>
        <p:nvSpPr>
          <p:cNvPr id="30" name="Rectangle 29">
            <a:extLst>
              <a:ext uri="{FF2B5EF4-FFF2-40B4-BE49-F238E27FC236}">
                <a16:creationId xmlns:a16="http://schemas.microsoft.com/office/drawing/2014/main" id="{A190BF1A-3A93-451E-AF0C-C7DCAB5F546D}"/>
              </a:ext>
            </a:extLst>
          </p:cNvPr>
          <p:cNvSpPr/>
          <p:nvPr/>
        </p:nvSpPr>
        <p:spPr>
          <a:xfrm>
            <a:off x="269240" y="1584878"/>
            <a:ext cx="11208750" cy="461665"/>
          </a:xfrm>
          <a:prstGeom prst="rect">
            <a:avLst/>
          </a:prstGeom>
          <a:noFill/>
        </p:spPr>
        <p:txBody>
          <a:bodyPr wrap="squar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0664" fontAlgn="base">
              <a:spcBef>
                <a:spcPct val="0"/>
              </a:spcBef>
              <a:spcAft>
                <a:spcPct val="0"/>
              </a:spcAft>
            </a:pPr>
            <a:r>
              <a:rPr lang="en-US" sz="2400" dirty="0">
                <a:solidFill>
                  <a:srgbClr val="0072C6"/>
                </a:solidFill>
                <a:latin typeface="Segoe UI Light"/>
              </a:rPr>
              <a:t>Offers can be pivoted to the following key initiatives – tailor make to your solution</a:t>
            </a:r>
          </a:p>
        </p:txBody>
      </p:sp>
    </p:spTree>
    <p:extLst>
      <p:ext uri="{BB962C8B-B14F-4D97-AF65-F5344CB8AC3E}">
        <p14:creationId xmlns:p14="http://schemas.microsoft.com/office/powerpoint/2010/main" val="3674677392"/>
      </p:ext>
    </p:extLst>
  </p:cSld>
  <p:clrMapOvr>
    <a:masterClrMapping/>
  </p:clrMapOvr>
  <p:transition spd="slow">
    <p:randomBar dir="vert"/>
  </p:transition>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00B0F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a:solidFill>
                  <a:schemeClr val="tx1"/>
                </a:solidFill>
              </a:rPr>
              <a:t>Key Influencers/Decision-makers</a:t>
            </a:r>
          </a:p>
        </p:txBody>
      </p:sp>
      <p:sp>
        <p:nvSpPr>
          <p:cNvPr id="5" name="Rectangle 4">
            <a:extLst>
              <a:ext uri="{FF2B5EF4-FFF2-40B4-BE49-F238E27FC236}">
                <a16:creationId xmlns:a16="http://schemas.microsoft.com/office/drawing/2014/main" id="{DA1863F4-A028-4469-B088-22EFC7F4E219}"/>
              </a:ext>
            </a:extLst>
          </p:cNvPr>
          <p:cNvSpPr/>
          <p:nvPr/>
        </p:nvSpPr>
        <p:spPr bwMode="auto">
          <a:xfrm>
            <a:off x="440486" y="1526468"/>
            <a:ext cx="3930483" cy="568180"/>
          </a:xfrm>
          <a:prstGeom prst="rect">
            <a:avLst/>
          </a:prstGeom>
          <a:solidFill>
            <a:srgbClr val="0070C0"/>
          </a:solidFill>
          <a:ln w="6350" cap="flat" cmpd="sng" algn="ctr">
            <a:noFill/>
            <a:prstDash val="solid"/>
            <a:headEnd type="none" w="med" len="med"/>
            <a:tailEnd type="none" w="med" len="med"/>
          </a:ln>
          <a:effectLst/>
        </p:spPr>
        <p:txBody>
          <a:bodyPr rot="0" spcFirstLastPara="0" vertOverflow="overflow" horzOverflow="overflow" vert="horz" wrap="square" lIns="67232" tIns="67232" rIns="67232" bIns="67232" numCol="1" spcCol="0" rtlCol="0" fromWordArt="0" anchor="t" anchorCtr="0" forceAA="0" compatLnSpc="1">
            <a:prstTxWarp prst="textNoShape">
              <a:avLst/>
            </a:prstTxWarp>
            <a:noAutofit/>
          </a:bodyPr>
          <a:lstStyle/>
          <a:p>
            <a:pPr algn="ctr" defTabSz="672071" fontAlgn="base">
              <a:lnSpc>
                <a:spcPct val="150000"/>
              </a:lnSpc>
              <a:spcBef>
                <a:spcPct val="0"/>
              </a:spcBef>
              <a:spcAft>
                <a:spcPts val="441"/>
              </a:spcAft>
              <a:defRPr/>
            </a:pPr>
            <a:endParaRPr lang="en-US" sz="1800" kern="0" dirty="0">
              <a:solidFill>
                <a:srgbClr val="FFFFFF"/>
              </a:solidFill>
              <a:latin typeface="Segoe UI"/>
              <a:ea typeface=""/>
              <a:cs typeface="Segoe UI Semibold"/>
            </a:endParaRPr>
          </a:p>
        </p:txBody>
      </p:sp>
      <p:sp>
        <p:nvSpPr>
          <p:cNvPr id="6" name="Rectangle 5">
            <a:extLst>
              <a:ext uri="{FF2B5EF4-FFF2-40B4-BE49-F238E27FC236}">
                <a16:creationId xmlns:a16="http://schemas.microsoft.com/office/drawing/2014/main" id="{9A1C1C55-2CFD-4E17-81B1-37E137805201}"/>
              </a:ext>
            </a:extLst>
          </p:cNvPr>
          <p:cNvSpPr/>
          <p:nvPr/>
        </p:nvSpPr>
        <p:spPr bwMode="auto">
          <a:xfrm>
            <a:off x="4246323" y="1526468"/>
            <a:ext cx="7678445" cy="568180"/>
          </a:xfrm>
          <a:prstGeom prst="rect">
            <a:avLst/>
          </a:prstGeom>
          <a:solidFill>
            <a:srgbClr val="0070C0">
              <a:alpha val="53000"/>
            </a:srgbClr>
          </a:solidFill>
          <a:ln w="6350" cap="flat" cmpd="sng" algn="ctr">
            <a:noFill/>
            <a:prstDash val="solid"/>
            <a:headEnd type="none" w="med" len="med"/>
            <a:tailEnd type="none" w="med" len="med"/>
          </a:ln>
          <a:effectLst/>
        </p:spPr>
        <p:txBody>
          <a:bodyPr rot="0" spcFirstLastPara="0" vertOverflow="overflow" horzOverflow="overflow" vert="horz" wrap="square" lIns="67232" tIns="67232" rIns="67232" bIns="67232" numCol="1" spcCol="0" rtlCol="0" fromWordArt="0" anchor="t" anchorCtr="0" forceAA="0" compatLnSpc="1">
            <a:prstTxWarp prst="textNoShape">
              <a:avLst/>
            </a:prstTxWarp>
            <a:noAutofit/>
          </a:bodyPr>
          <a:lstStyle/>
          <a:p>
            <a:pPr algn="ctr" defTabSz="672071" fontAlgn="base">
              <a:lnSpc>
                <a:spcPct val="150000"/>
              </a:lnSpc>
              <a:spcBef>
                <a:spcPct val="0"/>
              </a:spcBef>
              <a:spcAft>
                <a:spcPts val="441"/>
              </a:spcAft>
              <a:defRPr/>
            </a:pPr>
            <a:endParaRPr lang="en-US" sz="1800" kern="0" dirty="0">
              <a:solidFill>
                <a:srgbClr val="FFFFFF"/>
              </a:solidFill>
              <a:latin typeface="Segoe UI"/>
              <a:ea typeface=""/>
              <a:cs typeface="Segoe UI Semibold"/>
            </a:endParaRPr>
          </a:p>
        </p:txBody>
      </p:sp>
      <p:sp>
        <p:nvSpPr>
          <p:cNvPr id="13" name="TextBox 12">
            <a:extLst>
              <a:ext uri="{FF2B5EF4-FFF2-40B4-BE49-F238E27FC236}">
                <a16:creationId xmlns:a16="http://schemas.microsoft.com/office/drawing/2014/main" id="{1F1AB588-D533-4FEC-B5DD-C5D59ABA5D73}"/>
              </a:ext>
            </a:extLst>
          </p:cNvPr>
          <p:cNvSpPr txBox="1"/>
          <p:nvPr/>
        </p:nvSpPr>
        <p:spPr>
          <a:xfrm>
            <a:off x="4476774" y="1049413"/>
            <a:ext cx="5302990" cy="544765"/>
          </a:xfrm>
          <a:prstGeom prst="rect">
            <a:avLst/>
          </a:prstGeom>
          <a:noFill/>
        </p:spPr>
        <p:txBody>
          <a:bodyPr wrap="none" lIns="182880" tIns="146304" rIns="182880" bIns="146304" rtlCol="0">
            <a:spAutoFit/>
          </a:bodyPr>
          <a:lstStyle/>
          <a:p>
            <a:pPr>
              <a:lnSpc>
                <a:spcPct val="90000"/>
              </a:lnSpc>
              <a:spcAft>
                <a:spcPts val="600"/>
              </a:spcAft>
            </a:pPr>
            <a:r>
              <a:rPr lang="en-IN" b="1" dirty="0"/>
              <a:t>Primary Issue/Challenge this solution address</a:t>
            </a:r>
            <a:endParaRPr lang="en-IN" sz="2400" b="1" dirty="0">
              <a:gradFill>
                <a:gsLst>
                  <a:gs pos="2917">
                    <a:schemeClr val="tx1"/>
                  </a:gs>
                  <a:gs pos="30000">
                    <a:schemeClr val="tx1"/>
                  </a:gs>
                </a:gsLst>
                <a:lin ang="5400000" scaled="0"/>
              </a:gradFill>
            </a:endParaRPr>
          </a:p>
        </p:txBody>
      </p:sp>
      <p:sp>
        <p:nvSpPr>
          <p:cNvPr id="14" name="TextBox 13">
            <a:extLst>
              <a:ext uri="{FF2B5EF4-FFF2-40B4-BE49-F238E27FC236}">
                <a16:creationId xmlns:a16="http://schemas.microsoft.com/office/drawing/2014/main" id="{E173F105-05E0-4D80-BA85-10D2AF4201F6}"/>
              </a:ext>
            </a:extLst>
          </p:cNvPr>
          <p:cNvSpPr txBox="1"/>
          <p:nvPr/>
        </p:nvSpPr>
        <p:spPr>
          <a:xfrm>
            <a:off x="222545" y="1097676"/>
            <a:ext cx="1583447" cy="954107"/>
          </a:xfrm>
          <a:prstGeom prst="rect">
            <a:avLst/>
          </a:prstGeom>
          <a:noFill/>
        </p:spPr>
        <p:txBody>
          <a:bodyPr wrap="none" lIns="182880" tIns="146304" rIns="182880" bIns="146304" rtlCol="0">
            <a:spAutoFit/>
          </a:bodyPr>
          <a:lstStyle/>
          <a:p>
            <a:pPr>
              <a:lnSpc>
                <a:spcPct val="90000"/>
              </a:lnSpc>
              <a:spcAft>
                <a:spcPts val="600"/>
              </a:spcAft>
            </a:pPr>
            <a:r>
              <a:rPr lang="en-IN" b="1" dirty="0"/>
              <a:t>Role/ Tittle</a:t>
            </a:r>
          </a:p>
          <a:p>
            <a:pPr>
              <a:lnSpc>
                <a:spcPct val="90000"/>
              </a:lnSpc>
              <a:spcAft>
                <a:spcPts val="600"/>
              </a:spcAft>
            </a:pPr>
            <a:endParaRPr lang="en-IN" sz="2400" b="1" dirty="0" err="1">
              <a:gradFill>
                <a:gsLst>
                  <a:gs pos="2917">
                    <a:schemeClr val="tx1"/>
                  </a:gs>
                  <a:gs pos="30000">
                    <a:schemeClr val="tx1"/>
                  </a:gs>
                </a:gsLst>
                <a:lin ang="5400000" scaled="0"/>
              </a:gradFill>
            </a:endParaRPr>
          </a:p>
        </p:txBody>
      </p:sp>
      <p:sp>
        <p:nvSpPr>
          <p:cNvPr id="15" name="TextBox 14">
            <a:extLst>
              <a:ext uri="{FF2B5EF4-FFF2-40B4-BE49-F238E27FC236}">
                <a16:creationId xmlns:a16="http://schemas.microsoft.com/office/drawing/2014/main" id="{23057D5E-5908-4E6E-B079-A9D5DA414A2E}"/>
              </a:ext>
            </a:extLst>
          </p:cNvPr>
          <p:cNvSpPr txBox="1"/>
          <p:nvPr/>
        </p:nvSpPr>
        <p:spPr>
          <a:xfrm>
            <a:off x="370087" y="1553019"/>
            <a:ext cx="2593146" cy="544765"/>
          </a:xfrm>
          <a:prstGeom prst="rect">
            <a:avLst/>
          </a:prstGeom>
          <a:noFill/>
        </p:spPr>
        <p:txBody>
          <a:bodyPr wrap="none" lIns="182880" tIns="146304" rIns="182880" bIns="146304" rtlCol="0">
            <a:spAutoFit/>
          </a:bodyPr>
          <a:lstStyle/>
          <a:p>
            <a:pPr>
              <a:lnSpc>
                <a:spcPct val="90000"/>
              </a:lnSpc>
              <a:spcAft>
                <a:spcPts val="600"/>
              </a:spcAft>
            </a:pPr>
            <a:r>
              <a:rPr lang="en-IN" dirty="0"/>
              <a:t>Minister of education </a:t>
            </a:r>
            <a:endParaRPr lang="en-IN" sz="2400" dirty="0">
              <a:gradFill>
                <a:gsLst>
                  <a:gs pos="2917">
                    <a:schemeClr val="tx1"/>
                  </a:gs>
                  <a:gs pos="30000">
                    <a:schemeClr val="tx1"/>
                  </a:gs>
                </a:gsLst>
                <a:lin ang="5400000" scaled="0"/>
              </a:gradFill>
            </a:endParaRPr>
          </a:p>
        </p:txBody>
      </p:sp>
      <p:sp>
        <p:nvSpPr>
          <p:cNvPr id="16" name="TextBox 15">
            <a:extLst>
              <a:ext uri="{FF2B5EF4-FFF2-40B4-BE49-F238E27FC236}">
                <a16:creationId xmlns:a16="http://schemas.microsoft.com/office/drawing/2014/main" id="{58F774CA-F11E-4F4B-B221-F89CB831CAF0}"/>
              </a:ext>
            </a:extLst>
          </p:cNvPr>
          <p:cNvSpPr txBox="1"/>
          <p:nvPr/>
        </p:nvSpPr>
        <p:spPr>
          <a:xfrm>
            <a:off x="4370969" y="1549883"/>
            <a:ext cx="7447993" cy="544765"/>
          </a:xfrm>
          <a:prstGeom prst="rect">
            <a:avLst/>
          </a:prstGeom>
          <a:noFill/>
        </p:spPr>
        <p:txBody>
          <a:bodyPr wrap="square" lIns="182880" tIns="146304" rIns="182880" bIns="146304" rtlCol="0">
            <a:spAutoFit/>
          </a:bodyPr>
          <a:lstStyle/>
          <a:p>
            <a:pPr>
              <a:lnSpc>
                <a:spcPct val="90000"/>
              </a:lnSpc>
              <a:spcAft>
                <a:spcPts val="600"/>
              </a:spcAft>
            </a:pPr>
            <a:r>
              <a:rPr lang="en-IN" dirty="0"/>
              <a:t>Improving their international rankings such OECD PISA test</a:t>
            </a:r>
            <a:endParaRPr lang="en-IN" sz="2400" dirty="0">
              <a:gradFill>
                <a:gsLst>
                  <a:gs pos="2917">
                    <a:schemeClr val="tx1"/>
                  </a:gs>
                  <a:gs pos="30000">
                    <a:schemeClr val="tx1"/>
                  </a:gs>
                </a:gsLst>
                <a:lin ang="5400000" scaled="0"/>
              </a:gradFill>
            </a:endParaRPr>
          </a:p>
        </p:txBody>
      </p:sp>
      <p:sp>
        <p:nvSpPr>
          <p:cNvPr id="17" name="Rectangle 16">
            <a:extLst>
              <a:ext uri="{FF2B5EF4-FFF2-40B4-BE49-F238E27FC236}">
                <a16:creationId xmlns:a16="http://schemas.microsoft.com/office/drawing/2014/main" id="{869B9CCA-8815-4AB3-A4A8-950FBEA8F8B8}"/>
              </a:ext>
            </a:extLst>
          </p:cNvPr>
          <p:cNvSpPr/>
          <p:nvPr/>
        </p:nvSpPr>
        <p:spPr bwMode="auto">
          <a:xfrm>
            <a:off x="441415" y="2142522"/>
            <a:ext cx="3929554" cy="817480"/>
          </a:xfrm>
          <a:prstGeom prst="rect">
            <a:avLst/>
          </a:prstGeom>
          <a:solidFill>
            <a:srgbClr val="0070C0"/>
          </a:solidFill>
          <a:ln w="6350" cap="flat" cmpd="sng" algn="ctr">
            <a:noFill/>
            <a:prstDash val="solid"/>
            <a:headEnd type="none" w="med" len="med"/>
            <a:tailEnd type="none" w="med" len="med"/>
          </a:ln>
          <a:effectLst/>
        </p:spPr>
        <p:txBody>
          <a:bodyPr rot="0" spcFirstLastPara="0" vertOverflow="overflow" horzOverflow="overflow" vert="horz" wrap="square" lIns="67232" tIns="67232" rIns="67232" bIns="67232" numCol="1" spcCol="0" rtlCol="0" fromWordArt="0" anchor="t" anchorCtr="0" forceAA="0" compatLnSpc="1">
            <a:prstTxWarp prst="textNoShape">
              <a:avLst/>
            </a:prstTxWarp>
            <a:noAutofit/>
          </a:bodyPr>
          <a:lstStyle/>
          <a:p>
            <a:pPr algn="ctr" defTabSz="672071" fontAlgn="base">
              <a:lnSpc>
                <a:spcPct val="150000"/>
              </a:lnSpc>
              <a:spcBef>
                <a:spcPct val="0"/>
              </a:spcBef>
              <a:spcAft>
                <a:spcPts val="441"/>
              </a:spcAft>
              <a:defRPr/>
            </a:pPr>
            <a:endParaRPr lang="en-US" sz="1800" kern="0" dirty="0">
              <a:solidFill>
                <a:srgbClr val="FFFFFF"/>
              </a:solidFill>
              <a:latin typeface="Segoe UI"/>
              <a:ea typeface=""/>
              <a:cs typeface="Segoe UI Semibold"/>
            </a:endParaRPr>
          </a:p>
        </p:txBody>
      </p:sp>
      <p:sp>
        <p:nvSpPr>
          <p:cNvPr id="18" name="Rectangle 17">
            <a:extLst>
              <a:ext uri="{FF2B5EF4-FFF2-40B4-BE49-F238E27FC236}">
                <a16:creationId xmlns:a16="http://schemas.microsoft.com/office/drawing/2014/main" id="{9F56A910-1522-40BF-A859-0A1B19A94D88}"/>
              </a:ext>
            </a:extLst>
          </p:cNvPr>
          <p:cNvSpPr/>
          <p:nvPr/>
        </p:nvSpPr>
        <p:spPr bwMode="auto">
          <a:xfrm>
            <a:off x="4370969" y="2142522"/>
            <a:ext cx="7583367" cy="817480"/>
          </a:xfrm>
          <a:prstGeom prst="rect">
            <a:avLst/>
          </a:prstGeom>
          <a:solidFill>
            <a:srgbClr val="0070C0">
              <a:alpha val="53000"/>
            </a:srgbClr>
          </a:solidFill>
          <a:ln w="6350" cap="flat" cmpd="sng" algn="ctr">
            <a:noFill/>
            <a:prstDash val="solid"/>
            <a:headEnd type="none" w="med" len="med"/>
            <a:tailEnd type="none" w="med" len="med"/>
          </a:ln>
          <a:effectLst/>
        </p:spPr>
        <p:txBody>
          <a:bodyPr rot="0" spcFirstLastPara="0" vertOverflow="overflow" horzOverflow="overflow" vert="horz" wrap="square" lIns="67232" tIns="67232" rIns="67232" bIns="67232" numCol="1" spcCol="0" rtlCol="0" fromWordArt="0" anchor="t" anchorCtr="0" forceAA="0" compatLnSpc="1">
            <a:prstTxWarp prst="textNoShape">
              <a:avLst/>
            </a:prstTxWarp>
            <a:noAutofit/>
          </a:bodyPr>
          <a:lstStyle/>
          <a:p>
            <a:pPr algn="ctr" defTabSz="672071" fontAlgn="base">
              <a:lnSpc>
                <a:spcPct val="150000"/>
              </a:lnSpc>
              <a:spcBef>
                <a:spcPct val="0"/>
              </a:spcBef>
              <a:spcAft>
                <a:spcPts val="441"/>
              </a:spcAft>
              <a:defRPr/>
            </a:pPr>
            <a:endParaRPr lang="en-US" sz="1800" kern="0" dirty="0">
              <a:solidFill>
                <a:srgbClr val="FFFFFF"/>
              </a:solidFill>
              <a:latin typeface="Segoe UI"/>
              <a:ea typeface=""/>
              <a:cs typeface="Segoe UI Semibold"/>
            </a:endParaRPr>
          </a:p>
        </p:txBody>
      </p:sp>
      <p:sp>
        <p:nvSpPr>
          <p:cNvPr id="19" name="TextBox 18">
            <a:extLst>
              <a:ext uri="{FF2B5EF4-FFF2-40B4-BE49-F238E27FC236}">
                <a16:creationId xmlns:a16="http://schemas.microsoft.com/office/drawing/2014/main" id="{47461AA3-3350-41DC-BB1E-2D3A9B35ADF3}"/>
              </a:ext>
            </a:extLst>
          </p:cNvPr>
          <p:cNvSpPr txBox="1"/>
          <p:nvPr/>
        </p:nvSpPr>
        <p:spPr>
          <a:xfrm>
            <a:off x="353356" y="2238523"/>
            <a:ext cx="3562385" cy="544765"/>
          </a:xfrm>
          <a:prstGeom prst="rect">
            <a:avLst/>
          </a:prstGeom>
          <a:noFill/>
        </p:spPr>
        <p:txBody>
          <a:bodyPr wrap="none" lIns="182880" tIns="146304" rIns="182880" bIns="146304" rtlCol="0">
            <a:spAutoFit/>
          </a:bodyPr>
          <a:lstStyle/>
          <a:p>
            <a:pPr>
              <a:lnSpc>
                <a:spcPct val="90000"/>
              </a:lnSpc>
              <a:spcAft>
                <a:spcPts val="600"/>
              </a:spcAft>
            </a:pPr>
            <a:r>
              <a:rPr lang="en-IN" dirty="0"/>
              <a:t>State Department of Education </a:t>
            </a:r>
            <a:endParaRPr lang="en-IN" sz="2400" dirty="0">
              <a:gradFill>
                <a:gsLst>
                  <a:gs pos="2917">
                    <a:schemeClr val="tx1"/>
                  </a:gs>
                  <a:gs pos="30000">
                    <a:schemeClr val="tx1"/>
                  </a:gs>
                </a:gsLst>
                <a:lin ang="5400000" scaled="0"/>
              </a:gradFill>
            </a:endParaRPr>
          </a:p>
        </p:txBody>
      </p:sp>
      <p:sp>
        <p:nvSpPr>
          <p:cNvPr id="20" name="TextBox 19">
            <a:extLst>
              <a:ext uri="{FF2B5EF4-FFF2-40B4-BE49-F238E27FC236}">
                <a16:creationId xmlns:a16="http://schemas.microsoft.com/office/drawing/2014/main" id="{B780FBC3-5347-42D3-8F0D-B4ED1736FBA8}"/>
              </a:ext>
            </a:extLst>
          </p:cNvPr>
          <p:cNvSpPr txBox="1"/>
          <p:nvPr/>
        </p:nvSpPr>
        <p:spPr>
          <a:xfrm>
            <a:off x="4421688" y="2165937"/>
            <a:ext cx="7264005" cy="794064"/>
          </a:xfrm>
          <a:prstGeom prst="rect">
            <a:avLst/>
          </a:prstGeom>
          <a:noFill/>
        </p:spPr>
        <p:txBody>
          <a:bodyPr wrap="square" lIns="182880" tIns="146304" rIns="182880" bIns="146304" rtlCol="0">
            <a:spAutoFit/>
          </a:bodyPr>
          <a:lstStyle/>
          <a:p>
            <a:pPr>
              <a:lnSpc>
                <a:spcPct val="90000"/>
              </a:lnSpc>
              <a:spcAft>
                <a:spcPts val="600"/>
              </a:spcAft>
            </a:pPr>
            <a:r>
              <a:rPr lang="en-IN" dirty="0"/>
              <a:t>Equipping school superintendents with what they need drive better outcomes for students </a:t>
            </a:r>
            <a:endParaRPr lang="en-IN" sz="2400" dirty="0">
              <a:gradFill>
                <a:gsLst>
                  <a:gs pos="2917">
                    <a:schemeClr val="tx1"/>
                  </a:gs>
                  <a:gs pos="30000">
                    <a:schemeClr val="tx1"/>
                  </a:gs>
                </a:gsLst>
                <a:lin ang="5400000" scaled="0"/>
              </a:gradFill>
            </a:endParaRPr>
          </a:p>
        </p:txBody>
      </p:sp>
      <p:sp>
        <p:nvSpPr>
          <p:cNvPr id="28" name="Rectangle 27">
            <a:extLst>
              <a:ext uri="{FF2B5EF4-FFF2-40B4-BE49-F238E27FC236}">
                <a16:creationId xmlns:a16="http://schemas.microsoft.com/office/drawing/2014/main" id="{42957A91-931D-4F01-B5DB-43A6F8B504B5}"/>
              </a:ext>
            </a:extLst>
          </p:cNvPr>
          <p:cNvSpPr/>
          <p:nvPr/>
        </p:nvSpPr>
        <p:spPr bwMode="auto">
          <a:xfrm>
            <a:off x="430039" y="3019376"/>
            <a:ext cx="3940930" cy="1066778"/>
          </a:xfrm>
          <a:prstGeom prst="rect">
            <a:avLst/>
          </a:prstGeom>
          <a:solidFill>
            <a:srgbClr val="0070C0"/>
          </a:solidFill>
          <a:ln w="6350" cap="flat" cmpd="sng" algn="ctr">
            <a:noFill/>
            <a:prstDash val="solid"/>
            <a:headEnd type="none" w="med" len="med"/>
            <a:tailEnd type="none" w="med" len="med"/>
          </a:ln>
          <a:effectLst/>
        </p:spPr>
        <p:txBody>
          <a:bodyPr rot="0" spcFirstLastPara="0" vertOverflow="overflow" horzOverflow="overflow" vert="horz" wrap="square" lIns="67232" tIns="67232" rIns="67232" bIns="67232" numCol="1" spcCol="0" rtlCol="0" fromWordArt="0" anchor="t" anchorCtr="0" forceAA="0" compatLnSpc="1">
            <a:prstTxWarp prst="textNoShape">
              <a:avLst/>
            </a:prstTxWarp>
            <a:noAutofit/>
          </a:bodyPr>
          <a:lstStyle/>
          <a:p>
            <a:pPr algn="ctr" defTabSz="672071" fontAlgn="base">
              <a:lnSpc>
                <a:spcPct val="150000"/>
              </a:lnSpc>
              <a:spcBef>
                <a:spcPct val="0"/>
              </a:spcBef>
              <a:spcAft>
                <a:spcPts val="441"/>
              </a:spcAft>
              <a:defRPr/>
            </a:pPr>
            <a:endParaRPr lang="en-US" sz="1800" kern="0" dirty="0">
              <a:solidFill>
                <a:srgbClr val="FFFFFF"/>
              </a:solidFill>
              <a:latin typeface="Segoe UI"/>
              <a:ea typeface=""/>
              <a:cs typeface="Segoe UI Semibold"/>
            </a:endParaRPr>
          </a:p>
        </p:txBody>
      </p:sp>
      <p:sp>
        <p:nvSpPr>
          <p:cNvPr id="29" name="Rectangle 28">
            <a:extLst>
              <a:ext uri="{FF2B5EF4-FFF2-40B4-BE49-F238E27FC236}">
                <a16:creationId xmlns:a16="http://schemas.microsoft.com/office/drawing/2014/main" id="{283244F3-394C-45E8-83DC-BA490EEDFD91}"/>
              </a:ext>
            </a:extLst>
          </p:cNvPr>
          <p:cNvSpPr/>
          <p:nvPr/>
        </p:nvSpPr>
        <p:spPr bwMode="auto">
          <a:xfrm>
            <a:off x="4246323" y="3019376"/>
            <a:ext cx="7696637" cy="1066778"/>
          </a:xfrm>
          <a:prstGeom prst="rect">
            <a:avLst/>
          </a:prstGeom>
          <a:solidFill>
            <a:srgbClr val="0070C0">
              <a:alpha val="53000"/>
            </a:srgbClr>
          </a:solidFill>
          <a:ln w="6350" cap="flat" cmpd="sng" algn="ctr">
            <a:noFill/>
            <a:prstDash val="solid"/>
            <a:headEnd type="none" w="med" len="med"/>
            <a:tailEnd type="none" w="med" len="med"/>
          </a:ln>
          <a:effectLst/>
        </p:spPr>
        <p:txBody>
          <a:bodyPr rot="0" spcFirstLastPara="0" vertOverflow="overflow" horzOverflow="overflow" vert="horz" wrap="square" lIns="67232" tIns="67232" rIns="67232" bIns="67232" numCol="1" spcCol="0" rtlCol="0" fromWordArt="0" anchor="t" anchorCtr="0" forceAA="0" compatLnSpc="1">
            <a:prstTxWarp prst="textNoShape">
              <a:avLst/>
            </a:prstTxWarp>
            <a:noAutofit/>
          </a:bodyPr>
          <a:lstStyle/>
          <a:p>
            <a:pPr algn="ctr" defTabSz="672071" fontAlgn="base">
              <a:lnSpc>
                <a:spcPct val="150000"/>
              </a:lnSpc>
              <a:spcBef>
                <a:spcPct val="0"/>
              </a:spcBef>
              <a:spcAft>
                <a:spcPts val="441"/>
              </a:spcAft>
              <a:defRPr/>
            </a:pPr>
            <a:endParaRPr lang="en-US" sz="1800" kern="0" dirty="0">
              <a:solidFill>
                <a:srgbClr val="FFFFFF"/>
              </a:solidFill>
              <a:latin typeface="Segoe UI"/>
              <a:ea typeface=""/>
              <a:cs typeface="Segoe UI Semibold"/>
            </a:endParaRPr>
          </a:p>
        </p:txBody>
      </p:sp>
      <p:sp>
        <p:nvSpPr>
          <p:cNvPr id="30" name="TextBox 29">
            <a:extLst>
              <a:ext uri="{FF2B5EF4-FFF2-40B4-BE49-F238E27FC236}">
                <a16:creationId xmlns:a16="http://schemas.microsoft.com/office/drawing/2014/main" id="{957D478C-E520-4F00-A518-C10EA490EE1B}"/>
              </a:ext>
            </a:extLst>
          </p:cNvPr>
          <p:cNvSpPr txBox="1"/>
          <p:nvPr/>
        </p:nvSpPr>
        <p:spPr>
          <a:xfrm>
            <a:off x="341980" y="3115377"/>
            <a:ext cx="1999393" cy="544765"/>
          </a:xfrm>
          <a:prstGeom prst="rect">
            <a:avLst/>
          </a:prstGeom>
          <a:noFill/>
        </p:spPr>
        <p:txBody>
          <a:bodyPr wrap="none" lIns="182880" tIns="146304" rIns="182880" bIns="146304" rtlCol="0">
            <a:spAutoFit/>
          </a:bodyPr>
          <a:lstStyle/>
          <a:p>
            <a:pPr>
              <a:lnSpc>
                <a:spcPct val="90000"/>
              </a:lnSpc>
              <a:spcAft>
                <a:spcPts val="600"/>
              </a:spcAft>
            </a:pPr>
            <a:r>
              <a:rPr lang="en-IN" dirty="0"/>
              <a:t>Superintendent </a:t>
            </a:r>
            <a:endParaRPr lang="en-IN" sz="2400" dirty="0">
              <a:gradFill>
                <a:gsLst>
                  <a:gs pos="2917">
                    <a:schemeClr val="tx1"/>
                  </a:gs>
                  <a:gs pos="30000">
                    <a:schemeClr val="tx1"/>
                  </a:gs>
                </a:gsLst>
                <a:lin ang="5400000" scaled="0"/>
              </a:gradFill>
            </a:endParaRPr>
          </a:p>
        </p:txBody>
      </p:sp>
      <p:sp>
        <p:nvSpPr>
          <p:cNvPr id="31" name="TextBox 30">
            <a:extLst>
              <a:ext uri="{FF2B5EF4-FFF2-40B4-BE49-F238E27FC236}">
                <a16:creationId xmlns:a16="http://schemas.microsoft.com/office/drawing/2014/main" id="{A3D3AC0C-FAB9-40DE-BDEC-27D1E8314F2E}"/>
              </a:ext>
            </a:extLst>
          </p:cNvPr>
          <p:cNvSpPr txBox="1"/>
          <p:nvPr/>
        </p:nvSpPr>
        <p:spPr>
          <a:xfrm>
            <a:off x="4473485" y="3042791"/>
            <a:ext cx="7063046" cy="1043363"/>
          </a:xfrm>
          <a:prstGeom prst="rect">
            <a:avLst/>
          </a:prstGeom>
          <a:noFill/>
        </p:spPr>
        <p:txBody>
          <a:bodyPr wrap="square" lIns="182880" tIns="146304" rIns="182880" bIns="146304" rtlCol="0">
            <a:spAutoFit/>
          </a:bodyPr>
          <a:lstStyle/>
          <a:p>
            <a:pPr>
              <a:lnSpc>
                <a:spcPct val="90000"/>
              </a:lnSpc>
              <a:spcAft>
                <a:spcPts val="600"/>
              </a:spcAft>
            </a:pPr>
            <a:r>
              <a:rPr lang="en-IN" dirty="0"/>
              <a:t>Managing shrinking budgets, technology challenges  and complaints man dates while still addressing student retention and preventing dropouts </a:t>
            </a:r>
            <a:endParaRPr lang="en-IN" sz="2400" dirty="0">
              <a:gradFill>
                <a:gsLst>
                  <a:gs pos="2917">
                    <a:schemeClr val="tx1"/>
                  </a:gs>
                  <a:gs pos="30000">
                    <a:schemeClr val="tx1"/>
                  </a:gs>
                </a:gsLst>
                <a:lin ang="5400000" scaled="0"/>
              </a:gradFill>
            </a:endParaRPr>
          </a:p>
        </p:txBody>
      </p:sp>
      <p:sp>
        <p:nvSpPr>
          <p:cNvPr id="32" name="Rectangle 31">
            <a:extLst>
              <a:ext uri="{FF2B5EF4-FFF2-40B4-BE49-F238E27FC236}">
                <a16:creationId xmlns:a16="http://schemas.microsoft.com/office/drawing/2014/main" id="{8CD895C7-5F9A-4EDB-A791-BC3301C11B7F}"/>
              </a:ext>
            </a:extLst>
          </p:cNvPr>
          <p:cNvSpPr/>
          <p:nvPr/>
        </p:nvSpPr>
        <p:spPr bwMode="auto">
          <a:xfrm>
            <a:off x="430039" y="4136244"/>
            <a:ext cx="3940931" cy="1262476"/>
          </a:xfrm>
          <a:prstGeom prst="rect">
            <a:avLst/>
          </a:prstGeom>
          <a:solidFill>
            <a:srgbClr val="0070C0"/>
          </a:solidFill>
          <a:ln w="6350" cap="flat" cmpd="sng" algn="ctr">
            <a:noFill/>
            <a:prstDash val="solid"/>
            <a:headEnd type="none" w="med" len="med"/>
            <a:tailEnd type="none" w="med" len="med"/>
          </a:ln>
          <a:effectLst/>
        </p:spPr>
        <p:txBody>
          <a:bodyPr rot="0" spcFirstLastPara="0" vertOverflow="overflow" horzOverflow="overflow" vert="horz" wrap="square" lIns="67232" tIns="67232" rIns="67232" bIns="67232" numCol="1" spcCol="0" rtlCol="0" fromWordArt="0" anchor="t" anchorCtr="0" forceAA="0" compatLnSpc="1">
            <a:prstTxWarp prst="textNoShape">
              <a:avLst/>
            </a:prstTxWarp>
            <a:noAutofit/>
          </a:bodyPr>
          <a:lstStyle/>
          <a:p>
            <a:pPr algn="ctr" defTabSz="672071" fontAlgn="base">
              <a:lnSpc>
                <a:spcPct val="150000"/>
              </a:lnSpc>
              <a:spcBef>
                <a:spcPct val="0"/>
              </a:spcBef>
              <a:spcAft>
                <a:spcPts val="441"/>
              </a:spcAft>
              <a:defRPr/>
            </a:pPr>
            <a:endParaRPr lang="en-US" sz="1800" kern="0" dirty="0">
              <a:solidFill>
                <a:srgbClr val="FFFFFF"/>
              </a:solidFill>
              <a:latin typeface="Segoe UI"/>
              <a:ea typeface=""/>
              <a:cs typeface="Segoe UI Semibold"/>
            </a:endParaRPr>
          </a:p>
        </p:txBody>
      </p:sp>
      <p:sp>
        <p:nvSpPr>
          <p:cNvPr id="33" name="Rectangle 32">
            <a:extLst>
              <a:ext uri="{FF2B5EF4-FFF2-40B4-BE49-F238E27FC236}">
                <a16:creationId xmlns:a16="http://schemas.microsoft.com/office/drawing/2014/main" id="{14D43A5F-3A81-4C1C-85CF-72E488ADCA1A}"/>
              </a:ext>
            </a:extLst>
          </p:cNvPr>
          <p:cNvSpPr/>
          <p:nvPr/>
        </p:nvSpPr>
        <p:spPr bwMode="auto">
          <a:xfrm>
            <a:off x="4370969" y="4136244"/>
            <a:ext cx="7547877" cy="1262476"/>
          </a:xfrm>
          <a:prstGeom prst="rect">
            <a:avLst/>
          </a:prstGeom>
          <a:solidFill>
            <a:srgbClr val="0070C0">
              <a:alpha val="53000"/>
            </a:srgbClr>
          </a:solidFill>
          <a:ln w="6350" cap="flat" cmpd="sng" algn="ctr">
            <a:noFill/>
            <a:prstDash val="solid"/>
            <a:headEnd type="none" w="med" len="med"/>
            <a:tailEnd type="none" w="med" len="med"/>
          </a:ln>
          <a:effectLst/>
        </p:spPr>
        <p:txBody>
          <a:bodyPr rot="0" spcFirstLastPara="0" vertOverflow="overflow" horzOverflow="overflow" vert="horz" wrap="square" lIns="67232" tIns="67232" rIns="67232" bIns="67232" numCol="1" spcCol="0" rtlCol="0" fromWordArt="0" anchor="t" anchorCtr="0" forceAA="0" compatLnSpc="1">
            <a:prstTxWarp prst="textNoShape">
              <a:avLst/>
            </a:prstTxWarp>
            <a:noAutofit/>
          </a:bodyPr>
          <a:lstStyle/>
          <a:p>
            <a:pPr algn="ctr" defTabSz="672071" fontAlgn="base">
              <a:lnSpc>
                <a:spcPct val="150000"/>
              </a:lnSpc>
              <a:spcBef>
                <a:spcPct val="0"/>
              </a:spcBef>
              <a:spcAft>
                <a:spcPts val="441"/>
              </a:spcAft>
              <a:defRPr/>
            </a:pPr>
            <a:endParaRPr lang="en-US" sz="1800" kern="0" dirty="0">
              <a:solidFill>
                <a:srgbClr val="FFFFFF"/>
              </a:solidFill>
              <a:latin typeface="Segoe UI"/>
              <a:ea typeface=""/>
              <a:cs typeface="Segoe UI Semibold"/>
            </a:endParaRPr>
          </a:p>
        </p:txBody>
      </p:sp>
      <p:sp>
        <p:nvSpPr>
          <p:cNvPr id="34" name="TextBox 33">
            <a:extLst>
              <a:ext uri="{FF2B5EF4-FFF2-40B4-BE49-F238E27FC236}">
                <a16:creationId xmlns:a16="http://schemas.microsoft.com/office/drawing/2014/main" id="{70EDA47A-2BFD-4541-AF7F-9A5E30E07C66}"/>
              </a:ext>
            </a:extLst>
          </p:cNvPr>
          <p:cNvSpPr txBox="1"/>
          <p:nvPr/>
        </p:nvSpPr>
        <p:spPr>
          <a:xfrm>
            <a:off x="367970" y="4232245"/>
            <a:ext cx="2052678" cy="544765"/>
          </a:xfrm>
          <a:prstGeom prst="rect">
            <a:avLst/>
          </a:prstGeom>
          <a:noFill/>
        </p:spPr>
        <p:txBody>
          <a:bodyPr wrap="none" lIns="182880" tIns="146304" rIns="182880" bIns="146304" rtlCol="0">
            <a:spAutoFit/>
          </a:bodyPr>
          <a:lstStyle/>
          <a:p>
            <a:pPr>
              <a:lnSpc>
                <a:spcPct val="90000"/>
              </a:lnSpc>
              <a:spcAft>
                <a:spcPts val="600"/>
              </a:spcAft>
            </a:pPr>
            <a:r>
              <a:rPr lang="en-IN" dirty="0"/>
              <a:t>School principal </a:t>
            </a:r>
            <a:endParaRPr lang="en-IN" sz="2400" dirty="0">
              <a:gradFill>
                <a:gsLst>
                  <a:gs pos="2917">
                    <a:schemeClr val="tx1"/>
                  </a:gs>
                  <a:gs pos="30000">
                    <a:schemeClr val="tx1"/>
                  </a:gs>
                </a:gsLst>
                <a:lin ang="5400000" scaled="0"/>
              </a:gradFill>
            </a:endParaRPr>
          </a:p>
        </p:txBody>
      </p:sp>
      <p:sp>
        <p:nvSpPr>
          <p:cNvPr id="35" name="TextBox 34">
            <a:extLst>
              <a:ext uri="{FF2B5EF4-FFF2-40B4-BE49-F238E27FC236}">
                <a16:creationId xmlns:a16="http://schemas.microsoft.com/office/drawing/2014/main" id="{D6B5CA1D-C314-441E-ACFB-28A6ABF34F2D}"/>
              </a:ext>
            </a:extLst>
          </p:cNvPr>
          <p:cNvSpPr txBox="1"/>
          <p:nvPr/>
        </p:nvSpPr>
        <p:spPr>
          <a:xfrm>
            <a:off x="4461897" y="4097029"/>
            <a:ext cx="7063046" cy="1403461"/>
          </a:xfrm>
          <a:prstGeom prst="rect">
            <a:avLst/>
          </a:prstGeom>
          <a:noFill/>
        </p:spPr>
        <p:txBody>
          <a:bodyPr wrap="square" lIns="182880" tIns="146304" rIns="182880" bIns="146304" rtlCol="0">
            <a:spAutoFit/>
          </a:bodyPr>
          <a:lstStyle/>
          <a:p>
            <a:r>
              <a:rPr lang="en-IN" dirty="0"/>
              <a:t>Having easy access to the right data take informed action to target </a:t>
            </a:r>
            <a:r>
              <a:rPr lang="en-IN" dirty="0" err="1"/>
              <a:t>inteventions</a:t>
            </a:r>
            <a:r>
              <a:rPr lang="en-IN" dirty="0"/>
              <a:t> and resources to improve teacher practice and student outcomes. Easily share insights with students, Parents, teachers, schools and districts administrators .</a:t>
            </a:r>
          </a:p>
        </p:txBody>
      </p:sp>
      <p:sp>
        <p:nvSpPr>
          <p:cNvPr id="39" name="Rectangle 38">
            <a:extLst>
              <a:ext uri="{FF2B5EF4-FFF2-40B4-BE49-F238E27FC236}">
                <a16:creationId xmlns:a16="http://schemas.microsoft.com/office/drawing/2014/main" id="{576D80C3-37B6-44DF-9F32-A6B276ED2B85}"/>
              </a:ext>
            </a:extLst>
          </p:cNvPr>
          <p:cNvSpPr/>
          <p:nvPr/>
        </p:nvSpPr>
        <p:spPr bwMode="auto">
          <a:xfrm>
            <a:off x="430040" y="5453562"/>
            <a:ext cx="3940929" cy="1097550"/>
          </a:xfrm>
          <a:prstGeom prst="rect">
            <a:avLst/>
          </a:prstGeom>
          <a:solidFill>
            <a:srgbClr val="0070C0"/>
          </a:solidFill>
          <a:ln w="6350" cap="flat" cmpd="sng" algn="ctr">
            <a:noFill/>
            <a:prstDash val="solid"/>
            <a:headEnd type="none" w="med" len="med"/>
            <a:tailEnd type="none" w="med" len="med"/>
          </a:ln>
          <a:effectLst/>
        </p:spPr>
        <p:txBody>
          <a:bodyPr rot="0" spcFirstLastPara="0" vertOverflow="overflow" horzOverflow="overflow" vert="horz" wrap="square" lIns="67232" tIns="67232" rIns="67232" bIns="67232" numCol="1" spcCol="0" rtlCol="0" fromWordArt="0" anchor="t" anchorCtr="0" forceAA="0" compatLnSpc="1">
            <a:prstTxWarp prst="textNoShape">
              <a:avLst/>
            </a:prstTxWarp>
            <a:noAutofit/>
          </a:bodyPr>
          <a:lstStyle/>
          <a:p>
            <a:pPr algn="ctr" defTabSz="672071" fontAlgn="base">
              <a:lnSpc>
                <a:spcPct val="150000"/>
              </a:lnSpc>
              <a:spcBef>
                <a:spcPct val="0"/>
              </a:spcBef>
              <a:spcAft>
                <a:spcPts val="441"/>
              </a:spcAft>
              <a:defRPr/>
            </a:pPr>
            <a:endParaRPr lang="en-US" sz="1800" kern="0" dirty="0">
              <a:solidFill>
                <a:srgbClr val="FFFFFF"/>
              </a:solidFill>
              <a:latin typeface="Segoe UI"/>
              <a:ea typeface=""/>
              <a:cs typeface="Segoe UI Semibold"/>
            </a:endParaRPr>
          </a:p>
        </p:txBody>
      </p:sp>
      <p:sp>
        <p:nvSpPr>
          <p:cNvPr id="40" name="Rectangle 39">
            <a:extLst>
              <a:ext uri="{FF2B5EF4-FFF2-40B4-BE49-F238E27FC236}">
                <a16:creationId xmlns:a16="http://schemas.microsoft.com/office/drawing/2014/main" id="{70FC29A4-ABA8-41A1-BB78-D4095CE04D0F}"/>
              </a:ext>
            </a:extLst>
          </p:cNvPr>
          <p:cNvSpPr/>
          <p:nvPr/>
        </p:nvSpPr>
        <p:spPr bwMode="auto">
          <a:xfrm>
            <a:off x="4370969" y="5453562"/>
            <a:ext cx="7562491" cy="1097550"/>
          </a:xfrm>
          <a:prstGeom prst="rect">
            <a:avLst/>
          </a:prstGeom>
          <a:solidFill>
            <a:srgbClr val="0070C0">
              <a:alpha val="53000"/>
            </a:srgbClr>
          </a:solidFill>
          <a:ln w="6350" cap="flat" cmpd="sng" algn="ctr">
            <a:noFill/>
            <a:prstDash val="solid"/>
            <a:headEnd type="none" w="med" len="med"/>
            <a:tailEnd type="none" w="med" len="med"/>
          </a:ln>
          <a:effectLst/>
        </p:spPr>
        <p:txBody>
          <a:bodyPr rot="0" spcFirstLastPara="0" vertOverflow="overflow" horzOverflow="overflow" vert="horz" wrap="square" lIns="67232" tIns="67232" rIns="67232" bIns="67232" numCol="1" spcCol="0" rtlCol="0" fromWordArt="0" anchor="t" anchorCtr="0" forceAA="0" compatLnSpc="1">
            <a:prstTxWarp prst="textNoShape">
              <a:avLst/>
            </a:prstTxWarp>
            <a:noAutofit/>
          </a:bodyPr>
          <a:lstStyle/>
          <a:p>
            <a:pPr algn="ctr" defTabSz="672071" fontAlgn="base">
              <a:lnSpc>
                <a:spcPct val="150000"/>
              </a:lnSpc>
              <a:spcBef>
                <a:spcPct val="0"/>
              </a:spcBef>
              <a:spcAft>
                <a:spcPts val="441"/>
              </a:spcAft>
              <a:defRPr/>
            </a:pPr>
            <a:endParaRPr lang="en-US" sz="1800" kern="0" dirty="0">
              <a:solidFill>
                <a:srgbClr val="FFFFFF"/>
              </a:solidFill>
              <a:latin typeface="Segoe UI"/>
              <a:ea typeface=""/>
              <a:cs typeface="Segoe UI Semibold"/>
            </a:endParaRPr>
          </a:p>
        </p:txBody>
      </p:sp>
      <p:sp>
        <p:nvSpPr>
          <p:cNvPr id="41" name="TextBox 40">
            <a:extLst>
              <a:ext uri="{FF2B5EF4-FFF2-40B4-BE49-F238E27FC236}">
                <a16:creationId xmlns:a16="http://schemas.microsoft.com/office/drawing/2014/main" id="{648C2256-0457-4499-9944-F186EE7ECE09}"/>
              </a:ext>
            </a:extLst>
          </p:cNvPr>
          <p:cNvSpPr txBox="1"/>
          <p:nvPr/>
        </p:nvSpPr>
        <p:spPr>
          <a:xfrm>
            <a:off x="395110" y="5549563"/>
            <a:ext cx="3357009" cy="544765"/>
          </a:xfrm>
          <a:prstGeom prst="rect">
            <a:avLst/>
          </a:prstGeom>
          <a:noFill/>
        </p:spPr>
        <p:txBody>
          <a:bodyPr wrap="none" lIns="182880" tIns="146304" rIns="182880" bIns="146304" rtlCol="0">
            <a:spAutoFit/>
          </a:bodyPr>
          <a:lstStyle/>
          <a:p>
            <a:pPr>
              <a:lnSpc>
                <a:spcPct val="90000"/>
              </a:lnSpc>
              <a:spcAft>
                <a:spcPts val="600"/>
              </a:spcAft>
            </a:pPr>
            <a:r>
              <a:rPr lang="en-IN" dirty="0"/>
              <a:t>IT Department Director/ CTO </a:t>
            </a:r>
            <a:endParaRPr lang="en-IN" sz="2400" dirty="0">
              <a:gradFill>
                <a:gsLst>
                  <a:gs pos="2917">
                    <a:schemeClr val="tx1"/>
                  </a:gs>
                  <a:gs pos="30000">
                    <a:schemeClr val="tx1"/>
                  </a:gs>
                </a:gsLst>
                <a:lin ang="5400000" scaled="0"/>
              </a:gradFill>
            </a:endParaRPr>
          </a:p>
        </p:txBody>
      </p:sp>
      <p:sp>
        <p:nvSpPr>
          <p:cNvPr id="42" name="TextBox 41">
            <a:extLst>
              <a:ext uri="{FF2B5EF4-FFF2-40B4-BE49-F238E27FC236}">
                <a16:creationId xmlns:a16="http://schemas.microsoft.com/office/drawing/2014/main" id="{76ABAEC7-B7D9-4143-A1D4-F721BD519892}"/>
              </a:ext>
            </a:extLst>
          </p:cNvPr>
          <p:cNvSpPr txBox="1"/>
          <p:nvPr/>
        </p:nvSpPr>
        <p:spPr>
          <a:xfrm>
            <a:off x="4489037" y="5414347"/>
            <a:ext cx="7063046" cy="1403461"/>
          </a:xfrm>
          <a:prstGeom prst="rect">
            <a:avLst/>
          </a:prstGeom>
          <a:noFill/>
        </p:spPr>
        <p:txBody>
          <a:bodyPr wrap="square" lIns="182880" tIns="146304" rIns="182880" bIns="146304" rtlCol="0">
            <a:spAutoFit/>
          </a:bodyPr>
          <a:lstStyle/>
          <a:p>
            <a:r>
              <a:rPr lang="en-IN" dirty="0"/>
              <a:t>Ensuring business leaders have the tools necessary to easily track and respond to key indicator having to do with student performance </a:t>
            </a:r>
          </a:p>
          <a:p>
            <a:r>
              <a:rPr lang="en-IN" dirty="0"/>
              <a:t> </a:t>
            </a:r>
          </a:p>
        </p:txBody>
      </p:sp>
    </p:spTree>
    <p:extLst>
      <p:ext uri="{BB962C8B-B14F-4D97-AF65-F5344CB8AC3E}">
        <p14:creationId xmlns:p14="http://schemas.microsoft.com/office/powerpoint/2010/main" val="1701025201"/>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Picture 34"/>
          <p:cNvPicPr>
            <a:picLocks noChangeAspect="1"/>
          </p:cNvPicPr>
          <p:nvPr/>
        </p:nvPicPr>
        <p:blipFill rotWithShape="1">
          <a:blip r:embed="rId9" r:link="rId10" cstate="screen">
            <a:alphaModFix/>
            <a:extLst>
              <a:ext uri="{28A0092B-C50C-407E-A947-70E740481C1C}">
                <a14:useLocalDpi xmlns:a14="http://schemas.microsoft.com/office/drawing/2010/main"/>
              </a:ext>
            </a:extLst>
          </a:blip>
          <a:srcRect l="6466" t="18377"/>
          <a:stretch/>
        </p:blipFill>
        <p:spPr>
          <a:xfrm flipH="1">
            <a:off x="1586" y="-1"/>
            <a:ext cx="12190414" cy="6946105"/>
          </a:xfrm>
          <a:prstGeom prst="rect">
            <a:avLst/>
          </a:prstGeom>
        </p:spPr>
      </p:pic>
      <p:sp>
        <p:nvSpPr>
          <p:cNvPr id="82" name="Rectangle 81"/>
          <p:cNvSpPr/>
          <p:nvPr/>
        </p:nvSpPr>
        <p:spPr>
          <a:xfrm rot="10800000">
            <a:off x="1586" y="894"/>
            <a:ext cx="12185652" cy="2900607"/>
          </a:xfrm>
          <a:prstGeom prst="rect">
            <a:avLst/>
          </a:prstGeom>
          <a:gradFill>
            <a:gsLst>
              <a:gs pos="3000">
                <a:schemeClr val="bg1">
                  <a:alpha val="0"/>
                </a:schemeClr>
              </a:gs>
              <a:gs pos="65000">
                <a:schemeClr val="bg1">
                  <a:alpha val="73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457081" tIns="182832" rIns="457081" bIns="182832" rtlCol="0" anchor="b"/>
          <a:lstStyle/>
          <a:p>
            <a:pPr algn="r" defTabSz="913973">
              <a:lnSpc>
                <a:spcPts val="1200"/>
              </a:lnSpc>
            </a:pPr>
            <a:br>
              <a:rPr lang="en-US" sz="1999" i="1" dirty="0">
                <a:solidFill>
                  <a:prstClr val="white"/>
                </a:solidFill>
                <a:ea typeface="Segoe UI" pitchFamily="34" charset="0"/>
                <a:cs typeface="Segoe UI" pitchFamily="34" charset="0"/>
              </a:rPr>
            </a:br>
            <a:endParaRPr lang="da-DK" sz="1600" dirty="0">
              <a:solidFill>
                <a:prstClr val="white"/>
              </a:solidFill>
              <a:ea typeface="Segoe UI" pitchFamily="34" charset="0"/>
              <a:cs typeface="Segoe UI" pitchFamily="34" charset="0"/>
            </a:endParaRPr>
          </a:p>
        </p:txBody>
      </p:sp>
      <p:grpSp>
        <p:nvGrpSpPr>
          <p:cNvPr id="37" name="Group 36"/>
          <p:cNvGrpSpPr/>
          <p:nvPr/>
        </p:nvGrpSpPr>
        <p:grpSpPr>
          <a:xfrm>
            <a:off x="4677551" y="1433802"/>
            <a:ext cx="2514600" cy="2514600"/>
            <a:chOff x="3576381" y="2767412"/>
            <a:chExt cx="2514600" cy="2514600"/>
          </a:xfrm>
        </p:grpSpPr>
        <p:sp>
          <p:nvSpPr>
            <p:cNvPr id="38" name="Freeform 5"/>
            <p:cNvSpPr>
              <a:spLocks noEditPoints="1"/>
            </p:cNvSpPr>
            <p:nvPr/>
          </p:nvSpPr>
          <p:spPr bwMode="auto">
            <a:xfrm>
              <a:off x="3576381" y="2767412"/>
              <a:ext cx="2514600" cy="2514600"/>
            </a:xfrm>
            <a:custGeom>
              <a:avLst/>
              <a:gdLst>
                <a:gd name="T0" fmla="*/ 130 w 776"/>
                <a:gd name="T1" fmla="*/ 388 h 776"/>
                <a:gd name="T2" fmla="*/ 130 w 776"/>
                <a:gd name="T3" fmla="*/ 388 h 776"/>
                <a:gd name="T4" fmla="*/ 388 w 776"/>
                <a:gd name="T5" fmla="*/ 130 h 776"/>
                <a:gd name="T6" fmla="*/ 646 w 776"/>
                <a:gd name="T7" fmla="*/ 388 h 776"/>
                <a:gd name="T8" fmla="*/ 646 w 776"/>
                <a:gd name="T9" fmla="*/ 388 h 776"/>
                <a:gd name="T10" fmla="*/ 646 w 776"/>
                <a:gd name="T11" fmla="*/ 388 h 776"/>
                <a:gd name="T12" fmla="*/ 388 w 776"/>
                <a:gd name="T13" fmla="*/ 646 h 776"/>
                <a:gd name="T14" fmla="*/ 130 w 776"/>
                <a:gd name="T15" fmla="*/ 388 h 776"/>
                <a:gd name="T16" fmla="*/ 130 w 776"/>
                <a:gd name="T17" fmla="*/ 388 h 776"/>
                <a:gd name="T18" fmla="*/ 388 w 776"/>
                <a:gd name="T19" fmla="*/ 0 h 776"/>
                <a:gd name="T20" fmla="*/ 0 w 776"/>
                <a:gd name="T21" fmla="*/ 388 h 776"/>
                <a:gd name="T22" fmla="*/ 388 w 776"/>
                <a:gd name="T23" fmla="*/ 776 h 776"/>
                <a:gd name="T24" fmla="*/ 776 w 776"/>
                <a:gd name="T25" fmla="*/ 388 h 776"/>
                <a:gd name="T26" fmla="*/ 388 w 776"/>
                <a:gd name="T27" fmla="*/ 0 h 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76" h="776">
                  <a:moveTo>
                    <a:pt x="130" y="388"/>
                  </a:moveTo>
                  <a:cubicBezTo>
                    <a:pt x="130" y="388"/>
                    <a:pt x="130" y="388"/>
                    <a:pt x="130" y="388"/>
                  </a:cubicBezTo>
                  <a:cubicBezTo>
                    <a:pt x="130" y="246"/>
                    <a:pt x="246" y="130"/>
                    <a:pt x="388" y="130"/>
                  </a:cubicBezTo>
                  <a:cubicBezTo>
                    <a:pt x="531" y="130"/>
                    <a:pt x="646" y="246"/>
                    <a:pt x="646" y="388"/>
                  </a:cubicBezTo>
                  <a:cubicBezTo>
                    <a:pt x="646" y="388"/>
                    <a:pt x="646" y="388"/>
                    <a:pt x="646" y="388"/>
                  </a:cubicBezTo>
                  <a:cubicBezTo>
                    <a:pt x="646" y="388"/>
                    <a:pt x="646" y="388"/>
                    <a:pt x="646" y="388"/>
                  </a:cubicBezTo>
                  <a:cubicBezTo>
                    <a:pt x="646" y="530"/>
                    <a:pt x="531" y="646"/>
                    <a:pt x="388" y="646"/>
                  </a:cubicBezTo>
                  <a:cubicBezTo>
                    <a:pt x="246" y="646"/>
                    <a:pt x="130" y="530"/>
                    <a:pt x="130" y="388"/>
                  </a:cubicBezTo>
                  <a:cubicBezTo>
                    <a:pt x="130" y="388"/>
                    <a:pt x="130" y="388"/>
                    <a:pt x="130" y="388"/>
                  </a:cubicBezTo>
                  <a:moveTo>
                    <a:pt x="388" y="0"/>
                  </a:moveTo>
                  <a:cubicBezTo>
                    <a:pt x="174" y="0"/>
                    <a:pt x="0" y="174"/>
                    <a:pt x="0" y="388"/>
                  </a:cubicBezTo>
                  <a:cubicBezTo>
                    <a:pt x="0" y="602"/>
                    <a:pt x="174" y="776"/>
                    <a:pt x="388" y="776"/>
                  </a:cubicBezTo>
                  <a:cubicBezTo>
                    <a:pt x="602" y="776"/>
                    <a:pt x="776" y="602"/>
                    <a:pt x="776" y="388"/>
                  </a:cubicBezTo>
                  <a:cubicBezTo>
                    <a:pt x="776" y="174"/>
                    <a:pt x="602" y="0"/>
                    <a:pt x="388" y="0"/>
                  </a:cubicBezTo>
                </a:path>
              </a:pathLst>
            </a:custGeom>
            <a:solidFill>
              <a:srgbClr val="FFFFFF">
                <a:alpha val="25000"/>
              </a:srgb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9" name="Freeform 6"/>
            <p:cNvSpPr>
              <a:spLocks noEditPoints="1"/>
            </p:cNvSpPr>
            <p:nvPr/>
          </p:nvSpPr>
          <p:spPr bwMode="auto">
            <a:xfrm>
              <a:off x="3997074" y="3189701"/>
              <a:ext cx="1671847" cy="1671389"/>
            </a:xfrm>
            <a:custGeom>
              <a:avLst/>
              <a:gdLst>
                <a:gd name="T0" fmla="*/ 107 w 516"/>
                <a:gd name="T1" fmla="*/ 258 h 516"/>
                <a:gd name="T2" fmla="*/ 107 w 516"/>
                <a:gd name="T3" fmla="*/ 258 h 516"/>
                <a:gd name="T4" fmla="*/ 258 w 516"/>
                <a:gd name="T5" fmla="*/ 107 h 516"/>
                <a:gd name="T6" fmla="*/ 409 w 516"/>
                <a:gd name="T7" fmla="*/ 258 h 516"/>
                <a:gd name="T8" fmla="*/ 409 w 516"/>
                <a:gd name="T9" fmla="*/ 258 h 516"/>
                <a:gd name="T10" fmla="*/ 409 w 516"/>
                <a:gd name="T11" fmla="*/ 258 h 516"/>
                <a:gd name="T12" fmla="*/ 258 w 516"/>
                <a:gd name="T13" fmla="*/ 409 h 516"/>
                <a:gd name="T14" fmla="*/ 107 w 516"/>
                <a:gd name="T15" fmla="*/ 258 h 516"/>
                <a:gd name="T16" fmla="*/ 107 w 516"/>
                <a:gd name="T17" fmla="*/ 258 h 516"/>
                <a:gd name="T18" fmla="*/ 258 w 516"/>
                <a:gd name="T19" fmla="*/ 0 h 516"/>
                <a:gd name="T20" fmla="*/ 0 w 516"/>
                <a:gd name="T21" fmla="*/ 258 h 516"/>
                <a:gd name="T22" fmla="*/ 258 w 516"/>
                <a:gd name="T23" fmla="*/ 516 h 516"/>
                <a:gd name="T24" fmla="*/ 516 w 516"/>
                <a:gd name="T25" fmla="*/ 258 h 516"/>
                <a:gd name="T26" fmla="*/ 258 w 516"/>
                <a:gd name="T27" fmla="*/ 0 h 5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6" h="516">
                  <a:moveTo>
                    <a:pt x="107" y="258"/>
                  </a:moveTo>
                  <a:cubicBezTo>
                    <a:pt x="107" y="258"/>
                    <a:pt x="107" y="258"/>
                    <a:pt x="107" y="258"/>
                  </a:cubicBezTo>
                  <a:cubicBezTo>
                    <a:pt x="107" y="175"/>
                    <a:pt x="175" y="107"/>
                    <a:pt x="258" y="107"/>
                  </a:cubicBezTo>
                  <a:cubicBezTo>
                    <a:pt x="341" y="107"/>
                    <a:pt x="409" y="175"/>
                    <a:pt x="409" y="258"/>
                  </a:cubicBezTo>
                  <a:cubicBezTo>
                    <a:pt x="409" y="258"/>
                    <a:pt x="409" y="258"/>
                    <a:pt x="409" y="258"/>
                  </a:cubicBezTo>
                  <a:cubicBezTo>
                    <a:pt x="409" y="258"/>
                    <a:pt x="409" y="258"/>
                    <a:pt x="409" y="258"/>
                  </a:cubicBezTo>
                  <a:cubicBezTo>
                    <a:pt x="409" y="341"/>
                    <a:pt x="341" y="409"/>
                    <a:pt x="258" y="409"/>
                  </a:cubicBezTo>
                  <a:cubicBezTo>
                    <a:pt x="175" y="409"/>
                    <a:pt x="107" y="341"/>
                    <a:pt x="107" y="258"/>
                  </a:cubicBezTo>
                  <a:cubicBezTo>
                    <a:pt x="107" y="258"/>
                    <a:pt x="107" y="258"/>
                    <a:pt x="107" y="258"/>
                  </a:cubicBezTo>
                  <a:moveTo>
                    <a:pt x="258" y="0"/>
                  </a:moveTo>
                  <a:cubicBezTo>
                    <a:pt x="116" y="0"/>
                    <a:pt x="0" y="116"/>
                    <a:pt x="0" y="258"/>
                  </a:cubicBezTo>
                  <a:cubicBezTo>
                    <a:pt x="0" y="400"/>
                    <a:pt x="116" y="516"/>
                    <a:pt x="258" y="516"/>
                  </a:cubicBezTo>
                  <a:cubicBezTo>
                    <a:pt x="401" y="516"/>
                    <a:pt x="516" y="400"/>
                    <a:pt x="516" y="258"/>
                  </a:cubicBezTo>
                  <a:cubicBezTo>
                    <a:pt x="516" y="116"/>
                    <a:pt x="401" y="0"/>
                    <a:pt x="258" y="0"/>
                  </a:cubicBezTo>
                </a:path>
              </a:pathLst>
            </a:custGeom>
            <a:solidFill>
              <a:srgbClr val="FFFFFF">
                <a:alpha val="40000"/>
              </a:srgb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0" name="Freeform 7"/>
            <p:cNvSpPr>
              <a:spLocks noEditPoints="1"/>
            </p:cNvSpPr>
            <p:nvPr/>
          </p:nvSpPr>
          <p:spPr bwMode="auto">
            <a:xfrm>
              <a:off x="4344010" y="3535458"/>
              <a:ext cx="977976" cy="978507"/>
            </a:xfrm>
            <a:custGeom>
              <a:avLst/>
              <a:gdLst>
                <a:gd name="T0" fmla="*/ 151 w 302"/>
                <a:gd name="T1" fmla="*/ 242 h 302"/>
                <a:gd name="T2" fmla="*/ 60 w 302"/>
                <a:gd name="T3" fmla="*/ 151 h 302"/>
                <a:gd name="T4" fmla="*/ 151 w 302"/>
                <a:gd name="T5" fmla="*/ 60 h 302"/>
                <a:gd name="T6" fmla="*/ 242 w 302"/>
                <a:gd name="T7" fmla="*/ 151 h 302"/>
                <a:gd name="T8" fmla="*/ 151 w 302"/>
                <a:gd name="T9" fmla="*/ 242 h 302"/>
                <a:gd name="T10" fmla="*/ 151 w 302"/>
                <a:gd name="T11" fmla="*/ 0 h 302"/>
                <a:gd name="T12" fmla="*/ 0 w 302"/>
                <a:gd name="T13" fmla="*/ 151 h 302"/>
                <a:gd name="T14" fmla="*/ 151 w 302"/>
                <a:gd name="T15" fmla="*/ 302 h 302"/>
                <a:gd name="T16" fmla="*/ 302 w 302"/>
                <a:gd name="T17" fmla="*/ 151 h 302"/>
                <a:gd name="T18" fmla="*/ 151 w 302"/>
                <a:gd name="T19" fmla="*/ 0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2" h="302">
                  <a:moveTo>
                    <a:pt x="151" y="242"/>
                  </a:moveTo>
                  <a:cubicBezTo>
                    <a:pt x="101" y="242"/>
                    <a:pt x="60" y="201"/>
                    <a:pt x="60" y="151"/>
                  </a:cubicBezTo>
                  <a:cubicBezTo>
                    <a:pt x="60" y="101"/>
                    <a:pt x="101" y="60"/>
                    <a:pt x="151" y="60"/>
                  </a:cubicBezTo>
                  <a:cubicBezTo>
                    <a:pt x="201" y="60"/>
                    <a:pt x="242" y="101"/>
                    <a:pt x="242" y="151"/>
                  </a:cubicBezTo>
                  <a:cubicBezTo>
                    <a:pt x="242" y="201"/>
                    <a:pt x="201" y="242"/>
                    <a:pt x="151" y="242"/>
                  </a:cubicBezTo>
                  <a:moveTo>
                    <a:pt x="151" y="0"/>
                  </a:moveTo>
                  <a:cubicBezTo>
                    <a:pt x="68" y="0"/>
                    <a:pt x="0" y="68"/>
                    <a:pt x="0" y="151"/>
                  </a:cubicBezTo>
                  <a:cubicBezTo>
                    <a:pt x="0" y="234"/>
                    <a:pt x="68" y="302"/>
                    <a:pt x="151" y="302"/>
                  </a:cubicBezTo>
                  <a:cubicBezTo>
                    <a:pt x="234" y="302"/>
                    <a:pt x="302" y="234"/>
                    <a:pt x="302" y="151"/>
                  </a:cubicBezTo>
                  <a:cubicBezTo>
                    <a:pt x="302" y="68"/>
                    <a:pt x="234" y="0"/>
                    <a:pt x="151" y="0"/>
                  </a:cubicBezTo>
                </a:path>
              </a:pathLst>
            </a:custGeom>
            <a:solidFill>
              <a:srgbClr val="FFFFFF">
                <a:alpha val="55000"/>
              </a:srgb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1" name="Oval 8"/>
            <p:cNvSpPr>
              <a:spLocks noChangeArrowheads="1"/>
            </p:cNvSpPr>
            <p:nvPr/>
          </p:nvSpPr>
          <p:spPr bwMode="auto">
            <a:xfrm>
              <a:off x="4537966" y="3729520"/>
              <a:ext cx="590064" cy="590384"/>
            </a:xfrm>
            <a:prstGeom prst="ellipse">
              <a:avLst/>
            </a:prstGeom>
            <a:solidFill>
              <a:srgbClr val="FFFFFF">
                <a:alpha val="75000"/>
              </a:srgbClr>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2" name="Title 1"/>
          <p:cNvSpPr>
            <a:spLocks noGrp="1"/>
          </p:cNvSpPr>
          <p:nvPr>
            <p:ph type="title"/>
          </p:nvPr>
        </p:nvSpPr>
        <p:spPr/>
        <p:txBody>
          <a:bodyPr/>
          <a:lstStyle/>
          <a:p>
            <a:r>
              <a:rPr lang="en-US" dirty="0">
                <a:solidFill>
                  <a:srgbClr val="505050"/>
                </a:solidFill>
              </a:rPr>
              <a:t>The Complete Prospect Interview</a:t>
            </a:r>
          </a:p>
        </p:txBody>
      </p:sp>
      <p:sp>
        <p:nvSpPr>
          <p:cNvPr id="7" name="Rectangle 18"/>
          <p:cNvSpPr/>
          <p:nvPr>
            <p:custDataLst>
              <p:tags r:id="rId1"/>
            </p:custDataLst>
          </p:nvPr>
        </p:nvSpPr>
        <p:spPr>
          <a:xfrm>
            <a:off x="4663076" y="1483570"/>
            <a:ext cx="1752600" cy="1466850"/>
          </a:xfrm>
          <a:prstGeom prst="rect">
            <a:avLst/>
          </a:prstGeom>
          <a:solidFill>
            <a:srgbClr val="00B0F0"/>
          </a:solidFill>
          <a:ln w="3175" cap="flat" cmpd="sng" algn="ctr">
            <a:noFill/>
            <a:prstDash val="solid"/>
            <a:headEnd type="none" w="med" len="med"/>
            <a:tailEnd type="none" w="med" len="med"/>
          </a:ln>
          <a:effectLst/>
        </p:spPr>
        <p:txBody>
          <a:bodyPr spcFirstLastPara="0" vert="horz" wrap="square" lIns="91430" tIns="45715" rIns="91430" bIns="45715" numCol="1" spcCol="1270" anchor="ctr" anchorCtr="0">
            <a:noAutofit/>
          </a:bodyPr>
          <a:lstStyle/>
          <a:p>
            <a:pPr algn="ctr"/>
            <a:r>
              <a:rPr lang="en-IN" sz="1600" b="1" kern="0" dirty="0">
                <a:ln>
                  <a:solidFill>
                    <a:srgbClr val="FFFFFF">
                      <a:alpha val="0"/>
                    </a:srgbClr>
                  </a:solidFill>
                </a:ln>
                <a:solidFill>
                  <a:schemeClr val="bg1"/>
                </a:solidFill>
                <a:latin typeface="Segoe UI"/>
              </a:rPr>
              <a:t>Security and Compliance Requirements</a:t>
            </a:r>
          </a:p>
        </p:txBody>
      </p:sp>
      <p:sp>
        <p:nvSpPr>
          <p:cNvPr id="10" name="Rectangle 18"/>
          <p:cNvSpPr/>
          <p:nvPr>
            <p:custDataLst>
              <p:tags r:id="rId2"/>
            </p:custDataLst>
          </p:nvPr>
        </p:nvSpPr>
        <p:spPr>
          <a:xfrm>
            <a:off x="4663076" y="3265186"/>
            <a:ext cx="1752600" cy="1466850"/>
          </a:xfrm>
          <a:prstGeom prst="rect">
            <a:avLst/>
          </a:prstGeom>
          <a:solidFill>
            <a:srgbClr val="00B0F0"/>
          </a:solidFill>
          <a:ln w="3175" cap="flat" cmpd="sng" algn="ctr">
            <a:noFill/>
            <a:prstDash val="solid"/>
            <a:headEnd type="none" w="med" len="med"/>
            <a:tailEnd type="none" w="med" len="med"/>
          </a:ln>
          <a:effectLst/>
        </p:spPr>
        <p:txBody>
          <a:bodyPr spcFirstLastPara="0" vert="horz" wrap="square" lIns="91430" tIns="45715" rIns="91430" bIns="45715" numCol="1" spcCol="1270" anchor="ctr" anchorCtr="0">
            <a:noAutofit/>
          </a:bodyPr>
          <a:lstStyle/>
          <a:p>
            <a:pPr algn="ctr"/>
            <a:r>
              <a:rPr lang="en-IN" sz="1600" b="1" kern="0" dirty="0">
                <a:ln>
                  <a:solidFill>
                    <a:srgbClr val="FFFFFF">
                      <a:alpha val="0"/>
                    </a:srgbClr>
                  </a:solidFill>
                </a:ln>
                <a:solidFill>
                  <a:schemeClr val="bg1"/>
                </a:solidFill>
                <a:latin typeface="Segoe UI"/>
              </a:rPr>
              <a:t>Administration</a:t>
            </a:r>
          </a:p>
        </p:txBody>
      </p:sp>
      <p:sp>
        <p:nvSpPr>
          <p:cNvPr id="6" name="Rectangle 18"/>
          <p:cNvSpPr/>
          <p:nvPr>
            <p:custDataLst>
              <p:tags r:id="rId3"/>
            </p:custDataLst>
          </p:nvPr>
        </p:nvSpPr>
        <p:spPr>
          <a:xfrm>
            <a:off x="2607984" y="1483570"/>
            <a:ext cx="1752600" cy="1466850"/>
          </a:xfrm>
          <a:prstGeom prst="rect">
            <a:avLst/>
          </a:prstGeom>
          <a:solidFill>
            <a:srgbClr val="00B0F0"/>
          </a:solidFill>
          <a:ln w="3175" cap="flat" cmpd="sng" algn="ctr">
            <a:noFill/>
            <a:prstDash val="solid"/>
            <a:headEnd type="none" w="med" len="med"/>
            <a:tailEnd type="none" w="med" len="med"/>
          </a:ln>
          <a:effectLst/>
        </p:spPr>
        <p:txBody>
          <a:bodyPr spcFirstLastPara="0" vert="horz" wrap="square" lIns="91430" tIns="45715" rIns="91430" bIns="45715" numCol="1" spcCol="1270" anchor="ctr" anchorCtr="0">
            <a:noAutofit/>
          </a:bodyPr>
          <a:lstStyle/>
          <a:p>
            <a:pPr algn="ctr"/>
            <a:r>
              <a:rPr lang="en-IN" sz="1600" b="1" kern="0" dirty="0">
                <a:ln>
                  <a:solidFill>
                    <a:srgbClr val="FFFFFF">
                      <a:alpha val="0"/>
                    </a:srgbClr>
                  </a:solidFill>
                </a:ln>
                <a:solidFill>
                  <a:schemeClr val="bg1"/>
                </a:solidFill>
                <a:latin typeface="Segoe UI"/>
              </a:rPr>
              <a:t>What outcome do they want to achieve?</a:t>
            </a:r>
          </a:p>
        </p:txBody>
      </p:sp>
      <p:sp>
        <p:nvSpPr>
          <p:cNvPr id="5" name="Rectangle 18"/>
          <p:cNvSpPr/>
          <p:nvPr>
            <p:custDataLst>
              <p:tags r:id="rId4"/>
            </p:custDataLst>
          </p:nvPr>
        </p:nvSpPr>
        <p:spPr>
          <a:xfrm>
            <a:off x="552892" y="1483570"/>
            <a:ext cx="1752600" cy="1466850"/>
          </a:xfrm>
          <a:prstGeom prst="rect">
            <a:avLst/>
          </a:prstGeom>
          <a:solidFill>
            <a:srgbClr val="00B0F0"/>
          </a:solidFill>
          <a:ln w="3175" cap="flat" cmpd="sng" algn="ctr">
            <a:noFill/>
            <a:prstDash val="solid"/>
            <a:headEnd type="none" w="med" len="med"/>
            <a:tailEnd type="none" w="med" len="med"/>
          </a:ln>
          <a:effectLst/>
        </p:spPr>
        <p:txBody>
          <a:bodyPr spcFirstLastPara="0" vert="horz" wrap="square" lIns="91430" tIns="45715" rIns="91430" bIns="45715" numCol="1" spcCol="1270" anchor="ctr" anchorCtr="0">
            <a:noAutofit/>
          </a:bodyPr>
          <a:lstStyle/>
          <a:p>
            <a:pPr algn="ctr">
              <a:defRPr/>
            </a:pPr>
            <a:r>
              <a:rPr lang="en-IN" sz="1600" b="1" kern="0" dirty="0">
                <a:ln>
                  <a:solidFill>
                    <a:srgbClr val="FFFFFF">
                      <a:alpha val="0"/>
                    </a:srgbClr>
                  </a:solidFill>
                </a:ln>
                <a:solidFill>
                  <a:schemeClr val="bg1"/>
                </a:solidFill>
                <a:latin typeface="Segoe UI"/>
              </a:rPr>
              <a:t>Current Situation &amp; Pain Points</a:t>
            </a:r>
          </a:p>
        </p:txBody>
      </p:sp>
      <p:sp>
        <p:nvSpPr>
          <p:cNvPr id="8" name="Rectangle 18"/>
          <p:cNvSpPr/>
          <p:nvPr>
            <p:custDataLst>
              <p:tags r:id="rId5"/>
            </p:custDataLst>
          </p:nvPr>
        </p:nvSpPr>
        <p:spPr>
          <a:xfrm>
            <a:off x="552892" y="3265186"/>
            <a:ext cx="1752600" cy="1466850"/>
          </a:xfrm>
          <a:prstGeom prst="rect">
            <a:avLst/>
          </a:prstGeom>
          <a:solidFill>
            <a:srgbClr val="00B0F0"/>
          </a:solidFill>
          <a:ln w="3175" cap="flat" cmpd="sng" algn="ctr">
            <a:noFill/>
            <a:prstDash val="solid"/>
            <a:headEnd type="none" w="med" len="med"/>
            <a:tailEnd type="none" w="med" len="med"/>
          </a:ln>
          <a:effectLst/>
        </p:spPr>
        <p:txBody>
          <a:bodyPr spcFirstLastPara="0" vert="horz" wrap="square" lIns="91430" tIns="45715" rIns="91430" bIns="45715" numCol="1" spcCol="1270" anchor="ctr" anchorCtr="0">
            <a:noAutofit/>
          </a:bodyPr>
          <a:lstStyle/>
          <a:p>
            <a:pPr algn="ctr">
              <a:defRPr/>
            </a:pPr>
            <a:r>
              <a:rPr lang="en-IN" sz="1600" b="1" kern="0" dirty="0">
                <a:ln>
                  <a:solidFill>
                    <a:srgbClr val="FFFFFF">
                      <a:alpha val="0"/>
                    </a:srgbClr>
                  </a:solidFill>
                </a:ln>
                <a:solidFill>
                  <a:schemeClr val="bg1"/>
                </a:solidFill>
                <a:latin typeface="Segoe UI"/>
              </a:rPr>
              <a:t>SLA requirements</a:t>
            </a:r>
          </a:p>
        </p:txBody>
      </p:sp>
      <p:sp>
        <p:nvSpPr>
          <p:cNvPr id="9" name="Rectangle 18"/>
          <p:cNvSpPr/>
          <p:nvPr>
            <p:custDataLst>
              <p:tags r:id="rId6"/>
            </p:custDataLst>
          </p:nvPr>
        </p:nvSpPr>
        <p:spPr>
          <a:xfrm>
            <a:off x="2607984" y="3265186"/>
            <a:ext cx="1752600" cy="1466850"/>
          </a:xfrm>
          <a:prstGeom prst="rect">
            <a:avLst/>
          </a:prstGeom>
          <a:solidFill>
            <a:srgbClr val="00B0F0"/>
          </a:solidFill>
          <a:ln w="3175" cap="flat" cmpd="sng" algn="ctr">
            <a:noFill/>
            <a:prstDash val="solid"/>
            <a:headEnd type="none" w="med" len="med"/>
            <a:tailEnd type="none" w="med" len="med"/>
          </a:ln>
          <a:effectLst/>
        </p:spPr>
        <p:txBody>
          <a:bodyPr spcFirstLastPara="0" vert="horz" wrap="square" lIns="91430" tIns="45715" rIns="91430" bIns="45715" numCol="1" spcCol="1270" anchor="ctr" anchorCtr="0">
            <a:noAutofit/>
          </a:bodyPr>
          <a:lstStyle/>
          <a:p>
            <a:pPr algn="ctr"/>
            <a:r>
              <a:rPr lang="en-IN" sz="1600" b="1" kern="0" dirty="0">
                <a:ln>
                  <a:solidFill>
                    <a:srgbClr val="FFFFFF">
                      <a:alpha val="0"/>
                    </a:srgbClr>
                  </a:solidFill>
                </a:ln>
                <a:solidFill>
                  <a:schemeClr val="bg1"/>
                </a:solidFill>
                <a:latin typeface="Segoe UI"/>
              </a:rPr>
              <a:t>Level of Performance Required</a:t>
            </a:r>
          </a:p>
        </p:txBody>
      </p:sp>
    </p:spTree>
    <p:extLst>
      <p:ext uri="{BB962C8B-B14F-4D97-AF65-F5344CB8AC3E}">
        <p14:creationId xmlns:p14="http://schemas.microsoft.com/office/powerpoint/2010/main" val="3926410494"/>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l="53083" t="18192" r="19041" b="8733"/>
          <a:stretch/>
        </p:blipFill>
        <p:spPr bwMode="auto">
          <a:xfrm>
            <a:off x="0" y="0"/>
            <a:ext cx="4650854"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bwMode="auto">
          <a:xfrm>
            <a:off x="272804" y="1814004"/>
            <a:ext cx="4031450" cy="2233915"/>
          </a:xfrm>
          <a:prstGeom prst="rect">
            <a:avLst/>
          </a:prstGeom>
          <a:solidFill>
            <a:srgbClr val="FFFFFF">
              <a:alpha val="83137"/>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198432" y="2262144"/>
            <a:ext cx="4577392" cy="4280896"/>
          </a:xfrm>
        </p:spPr>
        <p:txBody>
          <a:bodyPr/>
          <a:lstStyle/>
          <a:p>
            <a:pPr algn="r"/>
            <a:r>
              <a:rPr lang="en-US" dirty="0">
                <a:solidFill>
                  <a:srgbClr val="0070C0"/>
                </a:solidFill>
              </a:rPr>
              <a:t>Lead Qualification</a:t>
            </a:r>
          </a:p>
        </p:txBody>
      </p:sp>
      <p:sp>
        <p:nvSpPr>
          <p:cNvPr id="4" name="Text Placeholder 14"/>
          <p:cNvSpPr txBox="1">
            <a:spLocks/>
          </p:cNvSpPr>
          <p:nvPr/>
        </p:nvSpPr>
        <p:spPr>
          <a:xfrm>
            <a:off x="4988560" y="0"/>
            <a:ext cx="6969760" cy="6858000"/>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spcAft>
                <a:spcPts val="600"/>
              </a:spcAft>
            </a:pPr>
            <a:endParaRPr lang="en-US" sz="1400" dirty="0">
              <a:latin typeface="Segoe UI"/>
            </a:endParaRPr>
          </a:p>
        </p:txBody>
      </p:sp>
      <p:sp>
        <p:nvSpPr>
          <p:cNvPr id="5" name="Rectangle 4">
            <a:extLst>
              <a:ext uri="{FF2B5EF4-FFF2-40B4-BE49-F238E27FC236}">
                <a16:creationId xmlns:a16="http://schemas.microsoft.com/office/drawing/2014/main" id="{94AC5B15-4C1C-46D9-A01B-0C978F4ED57A}"/>
              </a:ext>
            </a:extLst>
          </p:cNvPr>
          <p:cNvSpPr/>
          <p:nvPr/>
        </p:nvSpPr>
        <p:spPr>
          <a:xfrm>
            <a:off x="5124226" y="1396341"/>
            <a:ext cx="5880847" cy="4524315"/>
          </a:xfrm>
          <a:prstGeom prst="rect">
            <a:avLst/>
          </a:prstGeom>
        </p:spPr>
        <p:txBody>
          <a:bodyPr wrap="square">
            <a:spAutoFit/>
          </a:bodyPr>
          <a:lstStyle/>
          <a:p>
            <a:pPr marL="285750" lvl="0" indent="-285750">
              <a:buFont typeface="Arial" panose="020B0604020202020204" pitchFamily="34" charset="0"/>
              <a:buChar char="•"/>
            </a:pPr>
            <a:r>
              <a:rPr lang="en-US" dirty="0"/>
              <a:t>What systems are in place today in your organization to address student retention and preventing drop outs?</a:t>
            </a:r>
          </a:p>
          <a:p>
            <a:pPr lvl="0"/>
            <a:endParaRPr lang="en-US" dirty="0"/>
          </a:p>
          <a:p>
            <a:pPr marL="285750" lvl="0" indent="-285750">
              <a:buFont typeface="Arial" panose="020B0604020202020204" pitchFamily="34" charset="0"/>
              <a:buChar char="•"/>
            </a:pPr>
            <a:r>
              <a:rPr lang="en-US" dirty="0"/>
              <a:t>What pressures does your institution face in regard to improving student metrics such as improved grades, better graduation rates, higher scores in high-stakes testing, etc.?</a:t>
            </a:r>
          </a:p>
          <a:p>
            <a:pPr lvl="0"/>
            <a:endParaRPr lang="en-US" dirty="0"/>
          </a:p>
          <a:p>
            <a:pPr marL="285750" lvl="0" indent="-285750">
              <a:buFont typeface="Arial" panose="020B0604020202020204" pitchFamily="34" charset="0"/>
              <a:buChar char="•"/>
            </a:pPr>
            <a:r>
              <a:rPr lang="en-US" dirty="0"/>
              <a:t>What other issues are going on internally that could be addressed by our solution?</a:t>
            </a:r>
          </a:p>
          <a:p>
            <a:pPr lvl="0"/>
            <a:endParaRPr lang="en-US" dirty="0"/>
          </a:p>
          <a:p>
            <a:pPr marL="285750" indent="-285750">
              <a:buFont typeface="Arial" panose="020B0604020202020204" pitchFamily="34" charset="0"/>
              <a:buChar char="•"/>
            </a:pPr>
            <a:r>
              <a:rPr lang="en-US" dirty="0"/>
              <a:t>Which individuals in your organization would be responsible for making the decision to move forward with this type of solution? </a:t>
            </a:r>
          </a:p>
          <a:p>
            <a:endParaRPr lang="en-US" dirty="0"/>
          </a:p>
        </p:txBody>
      </p:sp>
    </p:spTree>
    <p:extLst>
      <p:ext uri="{BB962C8B-B14F-4D97-AF65-F5344CB8AC3E}">
        <p14:creationId xmlns:p14="http://schemas.microsoft.com/office/powerpoint/2010/main" val="3758949777"/>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l="53083" t="18192" r="19041" b="8733"/>
          <a:stretch/>
        </p:blipFill>
        <p:spPr bwMode="auto">
          <a:xfrm>
            <a:off x="0" y="0"/>
            <a:ext cx="4650854"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bwMode="auto">
          <a:xfrm>
            <a:off x="625033" y="2048718"/>
            <a:ext cx="4031450" cy="2233915"/>
          </a:xfrm>
          <a:prstGeom prst="rect">
            <a:avLst/>
          </a:prstGeom>
          <a:solidFill>
            <a:srgbClr val="FFFFFF">
              <a:alpha val="83137"/>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198432" y="2262144"/>
            <a:ext cx="4577392" cy="4280896"/>
          </a:xfrm>
        </p:spPr>
        <p:txBody>
          <a:bodyPr/>
          <a:lstStyle/>
          <a:p>
            <a:pPr algn="r"/>
            <a:r>
              <a:rPr lang="en-US" dirty="0">
                <a:solidFill>
                  <a:srgbClr val="0070C0"/>
                </a:solidFill>
              </a:rPr>
              <a:t>Listen for </a:t>
            </a:r>
            <a:br>
              <a:rPr lang="en-US" dirty="0">
                <a:solidFill>
                  <a:srgbClr val="0070C0"/>
                </a:solidFill>
              </a:rPr>
            </a:br>
            <a:r>
              <a:rPr lang="en-US" dirty="0">
                <a:solidFill>
                  <a:srgbClr val="0070C0"/>
                </a:solidFill>
              </a:rPr>
              <a:t>these pains:</a:t>
            </a:r>
          </a:p>
        </p:txBody>
      </p:sp>
      <p:sp>
        <p:nvSpPr>
          <p:cNvPr id="4" name="Text Placeholder 14"/>
          <p:cNvSpPr txBox="1">
            <a:spLocks/>
          </p:cNvSpPr>
          <p:nvPr/>
        </p:nvSpPr>
        <p:spPr>
          <a:xfrm>
            <a:off x="4988560" y="0"/>
            <a:ext cx="6969760" cy="6858000"/>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R="0" lvl="0">
              <a:spcBef>
                <a:spcPts val="300"/>
              </a:spcBef>
              <a:spcAft>
                <a:spcPts val="0"/>
              </a:spcAft>
            </a:pPr>
            <a:r>
              <a:rPr lang="en-US" sz="2000" dirty="0">
                <a:solidFill>
                  <a:srgbClr val="505050"/>
                </a:solidFill>
                <a:latin typeface="Segoe UI" panose="020B0502040204020203" pitchFamily="34" charset="0"/>
              </a:rPr>
              <a:t>Engage customer with open-ended questions regarding these business challenges and how customer is currently addressing. </a:t>
            </a:r>
          </a:p>
          <a:p>
            <a:pPr marR="0" lvl="0">
              <a:spcBef>
                <a:spcPts val="300"/>
              </a:spcBef>
              <a:spcAft>
                <a:spcPts val="0"/>
              </a:spcAft>
            </a:pPr>
            <a:endParaRPr lang="en-US" sz="2000" dirty="0">
              <a:solidFill>
                <a:srgbClr val="505050"/>
              </a:solidFill>
              <a:latin typeface="Segoe UI" panose="020B0502040204020203" pitchFamily="34" charset="0"/>
            </a:endParaRPr>
          </a:p>
          <a:p>
            <a:pPr marR="0" lvl="0">
              <a:spcBef>
                <a:spcPts val="300"/>
              </a:spcBef>
              <a:spcAft>
                <a:spcPts val="0"/>
              </a:spcAft>
            </a:pPr>
            <a:r>
              <a:rPr lang="en-US" sz="2000" dirty="0">
                <a:solidFill>
                  <a:srgbClr val="505050"/>
                </a:solidFill>
                <a:latin typeface="Segoe UI" panose="020B0502040204020203" pitchFamily="34" charset="0"/>
              </a:rPr>
              <a:t>Establish context to discuss solution benefits that address these challenges.</a:t>
            </a:r>
          </a:p>
          <a:p>
            <a:pPr marL="342900" marR="0" lvl="0" indent="-342900">
              <a:spcBef>
                <a:spcPts val="300"/>
              </a:spcBef>
              <a:spcAft>
                <a:spcPts val="0"/>
              </a:spcAft>
              <a:buFont typeface="Symbol" panose="05050102010706020507" pitchFamily="18" charset="2"/>
              <a:buChar char=""/>
            </a:pPr>
            <a:r>
              <a:rPr lang="en-US" sz="2000" dirty="0">
                <a:solidFill>
                  <a:srgbClr val="505050"/>
                </a:solidFill>
                <a:latin typeface="Segoe UI" panose="020B0502040204020203" pitchFamily="34" charset="0"/>
                <a:ea typeface="Times New Roman" panose="02020603050405020304" pitchFamily="18" charset="0"/>
              </a:rPr>
              <a:t>Driving overall staff effectiveness and pin points around overall institutional effectiveness</a:t>
            </a:r>
          </a:p>
          <a:p>
            <a:pPr marL="342900" marR="0" lvl="0" indent="-342900">
              <a:spcBef>
                <a:spcPts val="300"/>
              </a:spcBef>
              <a:spcAft>
                <a:spcPts val="0"/>
              </a:spcAft>
              <a:buFont typeface="Symbol" panose="05050102010706020507" pitchFamily="18" charset="2"/>
              <a:buChar char=""/>
            </a:pPr>
            <a:r>
              <a:rPr lang="en-US" sz="2000" dirty="0">
                <a:solidFill>
                  <a:srgbClr val="505050"/>
                </a:solidFill>
                <a:latin typeface="Segoe UI" panose="020B0502040204020203" pitchFamily="34" charset="0"/>
                <a:ea typeface="Times New Roman" panose="02020603050405020304" pitchFamily="18" charset="0"/>
              </a:rPr>
              <a:t>Increased pressure to deliver better student outcomes </a:t>
            </a:r>
          </a:p>
          <a:p>
            <a:pPr marL="342900" marR="0" lvl="0" indent="-342900">
              <a:spcBef>
                <a:spcPts val="0"/>
              </a:spcBef>
              <a:spcAft>
                <a:spcPts val="0"/>
              </a:spcAft>
              <a:buFont typeface="Symbol" panose="05050102010706020507" pitchFamily="18" charset="2"/>
              <a:buChar char=""/>
            </a:pPr>
            <a:r>
              <a:rPr lang="en-US" sz="2000" dirty="0">
                <a:solidFill>
                  <a:srgbClr val="505050"/>
                </a:solidFill>
                <a:latin typeface="Segoe UI" panose="020B0502040204020203" pitchFamily="34" charset="0"/>
                <a:ea typeface="Times New Roman" panose="02020603050405020304" pitchFamily="18" charset="0"/>
              </a:rPr>
              <a:t>Massive amounts of data sitting in different places </a:t>
            </a:r>
          </a:p>
          <a:p>
            <a:pPr marL="342900" indent="-342900">
              <a:buFont typeface="Symbol" panose="05050102010706020507" pitchFamily="18" charset="2"/>
              <a:buChar char=""/>
            </a:pPr>
            <a:r>
              <a:rPr lang="en-US" sz="2000" dirty="0">
                <a:solidFill>
                  <a:srgbClr val="505050"/>
                </a:solidFill>
                <a:latin typeface="Segoe UI" panose="020B0502040204020203" pitchFamily="34" charset="0"/>
                <a:ea typeface="Times New Roman" panose="02020603050405020304" pitchFamily="18" charset="0"/>
              </a:rPr>
              <a:t>Difficult to provide the right insight to the right person at the right time</a:t>
            </a:r>
          </a:p>
          <a:p>
            <a:pPr marL="342900" marR="0" lvl="0" indent="-342900">
              <a:spcBef>
                <a:spcPts val="0"/>
              </a:spcBef>
              <a:spcAft>
                <a:spcPts val="0"/>
              </a:spcAft>
              <a:buFont typeface="Symbol" panose="05050102010706020507" pitchFamily="18" charset="2"/>
              <a:buChar char=""/>
            </a:pPr>
            <a:r>
              <a:rPr lang="en-US" sz="2000" dirty="0">
                <a:solidFill>
                  <a:srgbClr val="505050"/>
                </a:solidFill>
                <a:latin typeface="Segoe UI" panose="020B0502040204020203" pitchFamily="34" charset="0"/>
                <a:ea typeface="Times New Roman" panose="02020603050405020304" pitchFamily="18" charset="0"/>
              </a:rPr>
              <a:t>Constrained budgets and resources</a:t>
            </a:r>
          </a:p>
          <a:p>
            <a:pPr marL="342900" marR="0" lvl="0" indent="-342900">
              <a:spcBef>
                <a:spcPts val="0"/>
              </a:spcBef>
              <a:spcAft>
                <a:spcPts val="300"/>
              </a:spcAft>
              <a:buFont typeface="Symbol" panose="05050102010706020507" pitchFamily="18" charset="2"/>
              <a:buChar char=""/>
            </a:pPr>
            <a:r>
              <a:rPr lang="en-US" sz="2000" dirty="0">
                <a:solidFill>
                  <a:srgbClr val="505050"/>
                </a:solidFill>
                <a:latin typeface="Segoe UI" panose="020B0502040204020203" pitchFamily="34" charset="0"/>
                <a:ea typeface="Times New Roman" panose="02020603050405020304" pitchFamily="18" charset="0"/>
              </a:rPr>
              <a:t>Student data privacy regulations require strict controls on student data</a:t>
            </a:r>
          </a:p>
        </p:txBody>
      </p:sp>
    </p:spTree>
    <p:extLst>
      <p:ext uri="{BB962C8B-B14F-4D97-AF65-F5344CB8AC3E}">
        <p14:creationId xmlns:p14="http://schemas.microsoft.com/office/powerpoint/2010/main" val="2965523697"/>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l="53083" t="18192" r="19041" b="8733"/>
          <a:stretch/>
        </p:blipFill>
        <p:spPr bwMode="auto">
          <a:xfrm>
            <a:off x="0" y="0"/>
            <a:ext cx="4650854"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bwMode="auto">
          <a:xfrm>
            <a:off x="272804" y="1814004"/>
            <a:ext cx="4031450" cy="2233915"/>
          </a:xfrm>
          <a:prstGeom prst="rect">
            <a:avLst/>
          </a:prstGeom>
          <a:solidFill>
            <a:srgbClr val="FFFFFF">
              <a:alpha val="83137"/>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198432" y="2262144"/>
            <a:ext cx="4577392" cy="4280896"/>
          </a:xfrm>
        </p:spPr>
        <p:txBody>
          <a:bodyPr/>
          <a:lstStyle/>
          <a:p>
            <a:pPr algn="r"/>
            <a:r>
              <a:rPr lang="en-US" dirty="0">
                <a:solidFill>
                  <a:srgbClr val="0070C0"/>
                </a:solidFill>
              </a:rPr>
              <a:t>Engage in</a:t>
            </a:r>
            <a:br>
              <a:rPr lang="en-US" dirty="0">
                <a:solidFill>
                  <a:srgbClr val="0070C0"/>
                </a:solidFill>
              </a:rPr>
            </a:br>
            <a:r>
              <a:rPr lang="en-US" dirty="0">
                <a:solidFill>
                  <a:srgbClr val="0070C0"/>
                </a:solidFill>
              </a:rPr>
              <a:t>Conversation</a:t>
            </a:r>
          </a:p>
        </p:txBody>
      </p:sp>
      <p:sp>
        <p:nvSpPr>
          <p:cNvPr id="4" name="Text Placeholder 14"/>
          <p:cNvSpPr txBox="1">
            <a:spLocks/>
          </p:cNvSpPr>
          <p:nvPr/>
        </p:nvSpPr>
        <p:spPr>
          <a:xfrm>
            <a:off x="4988560" y="0"/>
            <a:ext cx="6969760" cy="6858000"/>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spcAft>
                <a:spcPts val="600"/>
              </a:spcAft>
            </a:pPr>
            <a:endParaRPr lang="en-US" sz="1400" dirty="0">
              <a:latin typeface="Segoe UI"/>
            </a:endParaRPr>
          </a:p>
        </p:txBody>
      </p:sp>
      <p:sp>
        <p:nvSpPr>
          <p:cNvPr id="5" name="Rectangle 4">
            <a:extLst>
              <a:ext uri="{FF2B5EF4-FFF2-40B4-BE49-F238E27FC236}">
                <a16:creationId xmlns:a16="http://schemas.microsoft.com/office/drawing/2014/main" id="{94AC5B15-4C1C-46D9-A01B-0C978F4ED57A}"/>
              </a:ext>
            </a:extLst>
          </p:cNvPr>
          <p:cNvSpPr/>
          <p:nvPr/>
        </p:nvSpPr>
        <p:spPr>
          <a:xfrm>
            <a:off x="5221045" y="564480"/>
            <a:ext cx="6096000" cy="5978560"/>
          </a:xfrm>
          <a:prstGeom prst="rect">
            <a:avLst/>
          </a:prstGeom>
        </p:spPr>
        <p:txBody>
          <a:bodyPr>
            <a:spAutoFit/>
          </a:bodyPr>
          <a:lstStyle/>
          <a:p>
            <a:pPr marL="342900" marR="0" lvl="0" indent="-342900">
              <a:spcBef>
                <a:spcPts val="300"/>
              </a:spcBef>
              <a:spcAft>
                <a:spcPts val="0"/>
              </a:spcAft>
              <a:buFont typeface="Symbol" panose="05050102010706020507" pitchFamily="18" charset="2"/>
              <a:buChar char=""/>
            </a:pPr>
            <a:endParaRPr lang="en-US" dirty="0">
              <a:solidFill>
                <a:srgbClr val="505050"/>
              </a:solidFill>
              <a:latin typeface="Segoe UI" panose="020B0502040204020203" pitchFamily="34" charset="0"/>
              <a:ea typeface="Times New Roman" panose="02020603050405020304" pitchFamily="18" charset="0"/>
            </a:endParaRPr>
          </a:p>
          <a:p>
            <a:pPr marL="342900" marR="0" lvl="0" indent="-342900">
              <a:spcBef>
                <a:spcPts val="300"/>
              </a:spcBef>
              <a:spcAft>
                <a:spcPts val="0"/>
              </a:spcAft>
              <a:buFont typeface="Symbol" panose="05050102010706020507" pitchFamily="18" charset="2"/>
              <a:buChar char=""/>
            </a:pPr>
            <a:r>
              <a:rPr lang="en-US" dirty="0">
                <a:solidFill>
                  <a:srgbClr val="505050"/>
                </a:solidFill>
                <a:latin typeface="Segoe UI" panose="020B0502040204020203" pitchFamily="34" charset="0"/>
                <a:ea typeface="Times New Roman" panose="02020603050405020304" pitchFamily="18" charset="0"/>
              </a:rPr>
              <a:t>How do you manage reporting of student performance, demographics or operational data to state or national level department of education or accrediting institutions?</a:t>
            </a:r>
          </a:p>
          <a:p>
            <a:pPr marR="0" lvl="0">
              <a:spcBef>
                <a:spcPts val="0"/>
              </a:spcBef>
              <a:spcAft>
                <a:spcPts val="300"/>
              </a:spcAft>
            </a:pPr>
            <a:endParaRPr lang="en-US" dirty="0">
              <a:solidFill>
                <a:srgbClr val="505050"/>
              </a:solidFill>
              <a:latin typeface="Segoe UI" panose="020B0502040204020203" pitchFamily="34" charset="0"/>
              <a:ea typeface="Times New Roman" panose="02020603050405020304" pitchFamily="18" charset="0"/>
            </a:endParaRPr>
          </a:p>
          <a:p>
            <a:pPr marL="342900" marR="0" lvl="0" indent="-342900">
              <a:spcBef>
                <a:spcPts val="0"/>
              </a:spcBef>
              <a:spcAft>
                <a:spcPts val="300"/>
              </a:spcAft>
              <a:buFont typeface="Symbol" panose="05050102010706020507" pitchFamily="18" charset="2"/>
              <a:buChar char=""/>
            </a:pPr>
            <a:r>
              <a:rPr lang="en-US" dirty="0">
                <a:solidFill>
                  <a:srgbClr val="505050"/>
                </a:solidFill>
                <a:latin typeface="Segoe UI" panose="020B0502040204020203" pitchFamily="34" charset="0"/>
                <a:ea typeface="Times New Roman" panose="02020603050405020304" pitchFamily="18" charset="0"/>
              </a:rPr>
              <a:t>What are your top priorities when it comes to addressing student retention and preventing drop outs?</a:t>
            </a:r>
          </a:p>
          <a:p>
            <a:pPr marR="0" lvl="0">
              <a:spcBef>
                <a:spcPts val="0"/>
              </a:spcBef>
              <a:spcAft>
                <a:spcPts val="300"/>
              </a:spcAft>
            </a:pPr>
            <a:endParaRPr lang="en-US" dirty="0">
              <a:solidFill>
                <a:srgbClr val="505050"/>
              </a:solidFill>
              <a:latin typeface="Segoe UI" panose="020B0502040204020203" pitchFamily="34" charset="0"/>
              <a:ea typeface="Times New Roman" panose="02020603050405020304" pitchFamily="18" charset="0"/>
            </a:endParaRPr>
          </a:p>
          <a:p>
            <a:pPr marL="342900" indent="-342900">
              <a:spcAft>
                <a:spcPts val="300"/>
              </a:spcAft>
              <a:buFont typeface="Symbol" panose="05050102010706020507" pitchFamily="18" charset="2"/>
              <a:buChar char=""/>
            </a:pPr>
            <a:r>
              <a:rPr lang="en-US" dirty="0">
                <a:solidFill>
                  <a:srgbClr val="505050"/>
                </a:solidFill>
                <a:latin typeface="Segoe UI" panose="020B0502040204020203" pitchFamily="34" charset="0"/>
                <a:ea typeface="Times New Roman" panose="02020603050405020304" pitchFamily="18" charset="0"/>
              </a:rPr>
              <a:t>Do your teachers and school leaders have the student information they need in a timely fashion that allows them to intervene to improve student outcomes?</a:t>
            </a:r>
          </a:p>
          <a:p>
            <a:pPr marL="342900" indent="-342900">
              <a:spcAft>
                <a:spcPts val="300"/>
              </a:spcAft>
              <a:buFont typeface="Symbol" panose="05050102010706020507" pitchFamily="18" charset="2"/>
              <a:buChar char=""/>
            </a:pPr>
            <a:endParaRPr lang="en-US" dirty="0">
              <a:solidFill>
                <a:srgbClr val="505050"/>
              </a:solidFill>
              <a:latin typeface="Segoe UI" panose="020B0502040204020203" pitchFamily="34" charset="0"/>
              <a:ea typeface="Times New Roman" panose="02020603050405020304" pitchFamily="18" charset="0"/>
            </a:endParaRPr>
          </a:p>
          <a:p>
            <a:pPr marL="342900" indent="-342900">
              <a:spcAft>
                <a:spcPts val="300"/>
              </a:spcAft>
              <a:buFont typeface="Symbol" panose="05050102010706020507" pitchFamily="18" charset="2"/>
              <a:buChar char=""/>
            </a:pPr>
            <a:r>
              <a:rPr lang="en-US" dirty="0">
                <a:solidFill>
                  <a:srgbClr val="505050"/>
                </a:solidFill>
                <a:latin typeface="Segoe UI" panose="020B0502040204020203" pitchFamily="34" charset="0"/>
                <a:ea typeface="Times New Roman" panose="02020603050405020304" pitchFamily="18" charset="0"/>
              </a:rPr>
              <a:t>How do you assess staff effectiveness?</a:t>
            </a:r>
          </a:p>
          <a:p>
            <a:pPr marL="342900" indent="-342900">
              <a:spcAft>
                <a:spcPts val="300"/>
              </a:spcAft>
              <a:buFont typeface="Symbol" panose="05050102010706020507" pitchFamily="18" charset="2"/>
              <a:buChar char=""/>
            </a:pPr>
            <a:endParaRPr lang="en-US" dirty="0">
              <a:solidFill>
                <a:srgbClr val="505050"/>
              </a:solidFill>
              <a:latin typeface="Segoe UI" panose="020B0502040204020203" pitchFamily="34" charset="0"/>
              <a:ea typeface="Times New Roman" panose="02020603050405020304" pitchFamily="18" charset="0"/>
            </a:endParaRPr>
          </a:p>
          <a:p>
            <a:pPr marL="342900" indent="-342900">
              <a:spcAft>
                <a:spcPts val="300"/>
              </a:spcAft>
              <a:buFont typeface="Symbol" panose="05050102010706020507" pitchFamily="18" charset="2"/>
              <a:buChar char=""/>
            </a:pPr>
            <a:r>
              <a:rPr lang="en-US" dirty="0">
                <a:solidFill>
                  <a:srgbClr val="505050"/>
                </a:solidFill>
                <a:latin typeface="Segoe UI" panose="020B0502040204020203" pitchFamily="34" charset="0"/>
                <a:ea typeface="Times New Roman" panose="02020603050405020304" pitchFamily="18" charset="0"/>
              </a:rPr>
              <a:t>What dashboards would you like to see that presents a holistic view of your education institution’s effectiveness?</a:t>
            </a:r>
          </a:p>
          <a:p>
            <a:pPr marL="342900" marR="0" lvl="0" indent="-342900">
              <a:spcBef>
                <a:spcPts val="0"/>
              </a:spcBef>
              <a:spcAft>
                <a:spcPts val="300"/>
              </a:spcAft>
              <a:buFont typeface="Symbol" panose="05050102010706020507" pitchFamily="18" charset="2"/>
              <a:buChar char=""/>
            </a:pPr>
            <a:endParaRPr lang="en-US" dirty="0"/>
          </a:p>
        </p:txBody>
      </p:sp>
    </p:spTree>
    <p:extLst>
      <p:ext uri="{BB962C8B-B14F-4D97-AF65-F5344CB8AC3E}">
        <p14:creationId xmlns:p14="http://schemas.microsoft.com/office/powerpoint/2010/main" val="2716924740"/>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4"/>
            <a:ext cx="3765190" cy="1793071"/>
          </a:xfrm>
        </p:spPr>
        <p:txBody>
          <a:bodyPr/>
          <a:lstStyle/>
          <a:p>
            <a:r>
              <a:rPr lang="en-US" dirty="0">
                <a:solidFill>
                  <a:srgbClr val="0070C0"/>
                </a:solidFill>
              </a:rPr>
              <a:t>Objection </a:t>
            </a:r>
            <a:br>
              <a:rPr lang="en-US" dirty="0">
                <a:solidFill>
                  <a:srgbClr val="0070C0"/>
                </a:solidFill>
              </a:rPr>
            </a:br>
            <a:r>
              <a:rPr lang="en-US" dirty="0">
                <a:solidFill>
                  <a:srgbClr val="0070C0"/>
                </a:solidFill>
              </a:rPr>
              <a:t>Handling</a:t>
            </a:r>
          </a:p>
        </p:txBody>
      </p:sp>
      <p:sp>
        <p:nvSpPr>
          <p:cNvPr id="10" name="Rectangle 9"/>
          <p:cNvSpPr/>
          <p:nvPr/>
        </p:nvSpPr>
        <p:spPr>
          <a:xfrm>
            <a:off x="17480" y="2736633"/>
            <a:ext cx="4303424" cy="180360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a:p>
        </p:txBody>
      </p:sp>
      <p:sp>
        <p:nvSpPr>
          <p:cNvPr id="12" name="Rectangle 11"/>
          <p:cNvSpPr/>
          <p:nvPr/>
        </p:nvSpPr>
        <p:spPr>
          <a:xfrm>
            <a:off x="118358" y="3761416"/>
            <a:ext cx="3786909" cy="400110"/>
          </a:xfrm>
          <a:prstGeom prst="rect">
            <a:avLst/>
          </a:prstGeom>
        </p:spPr>
        <p:txBody>
          <a:bodyPr wrap="square">
            <a:spAutoFit/>
          </a:bodyPr>
          <a:lstStyle/>
          <a:p>
            <a:r>
              <a:rPr lang="en-US" sz="2000" b="1" dirty="0">
                <a:solidFill>
                  <a:srgbClr val="FFFFFF"/>
                </a:solidFill>
              </a:rPr>
              <a:t>Consider:</a:t>
            </a:r>
            <a:endParaRPr lang="en-US" sz="2000" dirty="0"/>
          </a:p>
        </p:txBody>
      </p:sp>
      <p:sp>
        <p:nvSpPr>
          <p:cNvPr id="14" name="Chevron 13"/>
          <p:cNvSpPr/>
          <p:nvPr/>
        </p:nvSpPr>
        <p:spPr bwMode="auto">
          <a:xfrm>
            <a:off x="1272223" y="2705516"/>
            <a:ext cx="1888132" cy="1888132"/>
          </a:xfrm>
          <a:prstGeom prst="chevron">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Freeform 33"/>
          <p:cNvSpPr>
            <a:spLocks noEditPoints="1"/>
          </p:cNvSpPr>
          <p:nvPr/>
        </p:nvSpPr>
        <p:spPr bwMode="black">
          <a:xfrm>
            <a:off x="337638" y="3064160"/>
            <a:ext cx="721223" cy="688824"/>
          </a:xfrm>
          <a:custGeom>
            <a:avLst/>
            <a:gdLst>
              <a:gd name="T0" fmla="*/ 98 w 155"/>
              <a:gd name="T1" fmla="*/ 69 h 154"/>
              <a:gd name="T2" fmla="*/ 91 w 155"/>
              <a:gd name="T3" fmla="*/ 82 h 154"/>
              <a:gd name="T4" fmla="*/ 86 w 155"/>
              <a:gd name="T5" fmla="*/ 93 h 154"/>
              <a:gd name="T6" fmla="*/ 86 w 155"/>
              <a:gd name="T7" fmla="*/ 95 h 154"/>
              <a:gd name="T8" fmla="*/ 84 w 155"/>
              <a:gd name="T9" fmla="*/ 97 h 154"/>
              <a:gd name="T10" fmla="*/ 71 w 155"/>
              <a:gd name="T11" fmla="*/ 97 h 154"/>
              <a:gd name="T12" fmla="*/ 69 w 155"/>
              <a:gd name="T13" fmla="*/ 95 h 154"/>
              <a:gd name="T14" fmla="*/ 69 w 155"/>
              <a:gd name="T15" fmla="*/ 93 h 154"/>
              <a:gd name="T16" fmla="*/ 64 w 155"/>
              <a:gd name="T17" fmla="*/ 82 h 154"/>
              <a:gd name="T18" fmla="*/ 58 w 155"/>
              <a:gd name="T19" fmla="*/ 69 h 154"/>
              <a:gd name="T20" fmla="*/ 58 w 155"/>
              <a:gd name="T21" fmla="*/ 69 h 154"/>
              <a:gd name="T22" fmla="*/ 57 w 155"/>
              <a:gd name="T23" fmla="*/ 67 h 154"/>
              <a:gd name="T24" fmla="*/ 57 w 155"/>
              <a:gd name="T25" fmla="*/ 67 h 154"/>
              <a:gd name="T26" fmla="*/ 57 w 155"/>
              <a:gd name="T27" fmla="*/ 65 h 154"/>
              <a:gd name="T28" fmla="*/ 78 w 155"/>
              <a:gd name="T29" fmla="*/ 45 h 154"/>
              <a:gd name="T30" fmla="*/ 98 w 155"/>
              <a:gd name="T31" fmla="*/ 65 h 154"/>
              <a:gd name="T32" fmla="*/ 98 w 155"/>
              <a:gd name="T33" fmla="*/ 67 h 154"/>
              <a:gd name="T34" fmla="*/ 98 w 155"/>
              <a:gd name="T35" fmla="*/ 67 h 154"/>
              <a:gd name="T36" fmla="*/ 98 w 155"/>
              <a:gd name="T37" fmla="*/ 69 h 154"/>
              <a:gd name="T38" fmla="*/ 98 w 155"/>
              <a:gd name="T39" fmla="*/ 69 h 154"/>
              <a:gd name="T40" fmla="*/ 86 w 155"/>
              <a:gd name="T41" fmla="*/ 105 h 154"/>
              <a:gd name="T42" fmla="*/ 85 w 155"/>
              <a:gd name="T43" fmla="*/ 102 h 154"/>
              <a:gd name="T44" fmla="*/ 84 w 155"/>
              <a:gd name="T45" fmla="*/ 101 h 154"/>
              <a:gd name="T46" fmla="*/ 71 w 155"/>
              <a:gd name="T47" fmla="*/ 101 h 154"/>
              <a:gd name="T48" fmla="*/ 70 w 155"/>
              <a:gd name="T49" fmla="*/ 102 h 154"/>
              <a:gd name="T50" fmla="*/ 69 w 155"/>
              <a:gd name="T51" fmla="*/ 105 h 154"/>
              <a:gd name="T52" fmla="*/ 69 w 155"/>
              <a:gd name="T53" fmla="*/ 106 h 154"/>
              <a:gd name="T54" fmla="*/ 69 w 155"/>
              <a:gd name="T55" fmla="*/ 107 h 154"/>
              <a:gd name="T56" fmla="*/ 69 w 155"/>
              <a:gd name="T57" fmla="*/ 108 h 154"/>
              <a:gd name="T58" fmla="*/ 70 w 155"/>
              <a:gd name="T59" fmla="*/ 110 h 154"/>
              <a:gd name="T60" fmla="*/ 71 w 155"/>
              <a:gd name="T61" fmla="*/ 111 h 154"/>
              <a:gd name="T62" fmla="*/ 72 w 155"/>
              <a:gd name="T63" fmla="*/ 111 h 154"/>
              <a:gd name="T64" fmla="*/ 73 w 155"/>
              <a:gd name="T65" fmla="*/ 114 h 154"/>
              <a:gd name="T66" fmla="*/ 74 w 155"/>
              <a:gd name="T67" fmla="*/ 114 h 154"/>
              <a:gd name="T68" fmla="*/ 81 w 155"/>
              <a:gd name="T69" fmla="*/ 114 h 154"/>
              <a:gd name="T70" fmla="*/ 82 w 155"/>
              <a:gd name="T71" fmla="*/ 114 h 154"/>
              <a:gd name="T72" fmla="*/ 83 w 155"/>
              <a:gd name="T73" fmla="*/ 111 h 154"/>
              <a:gd name="T74" fmla="*/ 84 w 155"/>
              <a:gd name="T75" fmla="*/ 111 h 154"/>
              <a:gd name="T76" fmla="*/ 85 w 155"/>
              <a:gd name="T77" fmla="*/ 110 h 154"/>
              <a:gd name="T78" fmla="*/ 86 w 155"/>
              <a:gd name="T79" fmla="*/ 108 h 154"/>
              <a:gd name="T80" fmla="*/ 86 w 155"/>
              <a:gd name="T81" fmla="*/ 107 h 154"/>
              <a:gd name="T82" fmla="*/ 86 w 155"/>
              <a:gd name="T83" fmla="*/ 106 h 154"/>
              <a:gd name="T84" fmla="*/ 86 w 155"/>
              <a:gd name="T85" fmla="*/ 105 h 154"/>
              <a:gd name="T86" fmla="*/ 78 w 155"/>
              <a:gd name="T87" fmla="*/ 10 h 154"/>
              <a:gd name="T88" fmla="*/ 145 w 155"/>
              <a:gd name="T89" fmla="*/ 77 h 154"/>
              <a:gd name="T90" fmla="*/ 125 w 155"/>
              <a:gd name="T91" fmla="*/ 124 h 154"/>
              <a:gd name="T92" fmla="*/ 78 w 155"/>
              <a:gd name="T93" fmla="*/ 144 h 154"/>
              <a:gd name="T94" fmla="*/ 78 w 155"/>
              <a:gd name="T95" fmla="*/ 144 h 154"/>
              <a:gd name="T96" fmla="*/ 11 w 155"/>
              <a:gd name="T97" fmla="*/ 78 h 154"/>
              <a:gd name="T98" fmla="*/ 30 w 155"/>
              <a:gd name="T99" fmla="*/ 30 h 154"/>
              <a:gd name="T100" fmla="*/ 77 w 155"/>
              <a:gd name="T101" fmla="*/ 10 h 154"/>
              <a:gd name="T102" fmla="*/ 78 w 155"/>
              <a:gd name="T103" fmla="*/ 10 h 154"/>
              <a:gd name="T104" fmla="*/ 78 w 155"/>
              <a:gd name="T105" fmla="*/ 10 h 154"/>
              <a:gd name="T106" fmla="*/ 78 w 155"/>
              <a:gd name="T107" fmla="*/ 0 h 154"/>
              <a:gd name="T108" fmla="*/ 77 w 155"/>
              <a:gd name="T109" fmla="*/ 0 h 154"/>
              <a:gd name="T110" fmla="*/ 1 w 155"/>
              <a:gd name="T111" fmla="*/ 78 h 154"/>
              <a:gd name="T112" fmla="*/ 78 w 155"/>
              <a:gd name="T113" fmla="*/ 154 h 154"/>
              <a:gd name="T114" fmla="*/ 78 w 155"/>
              <a:gd name="T115" fmla="*/ 154 h 154"/>
              <a:gd name="T116" fmla="*/ 154 w 155"/>
              <a:gd name="T117" fmla="*/ 76 h 154"/>
              <a:gd name="T118" fmla="*/ 78 w 155"/>
              <a:gd name="T11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5" h="154">
                <a:moveTo>
                  <a:pt x="98" y="69"/>
                </a:moveTo>
                <a:cubicBezTo>
                  <a:pt x="97" y="72"/>
                  <a:pt x="95" y="76"/>
                  <a:pt x="91" y="82"/>
                </a:cubicBezTo>
                <a:cubicBezTo>
                  <a:pt x="87" y="88"/>
                  <a:pt x="86" y="89"/>
                  <a:pt x="86" y="93"/>
                </a:cubicBezTo>
                <a:cubicBezTo>
                  <a:pt x="86" y="95"/>
                  <a:pt x="86" y="95"/>
                  <a:pt x="86" y="95"/>
                </a:cubicBezTo>
                <a:cubicBezTo>
                  <a:pt x="86" y="96"/>
                  <a:pt x="85" y="97"/>
                  <a:pt x="84" y="97"/>
                </a:cubicBezTo>
                <a:cubicBezTo>
                  <a:pt x="71" y="97"/>
                  <a:pt x="71" y="97"/>
                  <a:pt x="71" y="97"/>
                </a:cubicBezTo>
                <a:cubicBezTo>
                  <a:pt x="70" y="97"/>
                  <a:pt x="69" y="96"/>
                  <a:pt x="69" y="95"/>
                </a:cubicBezTo>
                <a:cubicBezTo>
                  <a:pt x="69" y="93"/>
                  <a:pt x="69" y="93"/>
                  <a:pt x="69" y="93"/>
                </a:cubicBezTo>
                <a:cubicBezTo>
                  <a:pt x="69" y="90"/>
                  <a:pt x="68" y="88"/>
                  <a:pt x="64" y="82"/>
                </a:cubicBezTo>
                <a:cubicBezTo>
                  <a:pt x="60" y="76"/>
                  <a:pt x="58" y="72"/>
                  <a:pt x="58" y="69"/>
                </a:cubicBezTo>
                <a:cubicBezTo>
                  <a:pt x="58" y="69"/>
                  <a:pt x="58" y="69"/>
                  <a:pt x="58" y="69"/>
                </a:cubicBezTo>
                <a:cubicBezTo>
                  <a:pt x="57" y="68"/>
                  <a:pt x="57" y="68"/>
                  <a:pt x="57" y="67"/>
                </a:cubicBezTo>
                <a:cubicBezTo>
                  <a:pt x="57" y="67"/>
                  <a:pt x="57" y="67"/>
                  <a:pt x="57" y="67"/>
                </a:cubicBezTo>
                <a:cubicBezTo>
                  <a:pt x="57" y="66"/>
                  <a:pt x="57" y="65"/>
                  <a:pt x="57" y="65"/>
                </a:cubicBezTo>
                <a:cubicBezTo>
                  <a:pt x="57" y="54"/>
                  <a:pt x="66" y="45"/>
                  <a:pt x="78" y="45"/>
                </a:cubicBezTo>
                <a:cubicBezTo>
                  <a:pt x="89" y="45"/>
                  <a:pt x="98" y="54"/>
                  <a:pt x="98" y="65"/>
                </a:cubicBezTo>
                <a:cubicBezTo>
                  <a:pt x="98" y="65"/>
                  <a:pt x="98" y="66"/>
                  <a:pt x="98" y="67"/>
                </a:cubicBezTo>
                <a:cubicBezTo>
                  <a:pt x="98" y="67"/>
                  <a:pt x="98" y="67"/>
                  <a:pt x="98" y="67"/>
                </a:cubicBezTo>
                <a:cubicBezTo>
                  <a:pt x="98" y="68"/>
                  <a:pt x="98" y="69"/>
                  <a:pt x="98" y="69"/>
                </a:cubicBezTo>
                <a:cubicBezTo>
                  <a:pt x="98" y="69"/>
                  <a:pt x="98" y="69"/>
                  <a:pt x="98" y="69"/>
                </a:cubicBezTo>
                <a:moveTo>
                  <a:pt x="86" y="105"/>
                </a:moveTo>
                <a:cubicBezTo>
                  <a:pt x="86" y="103"/>
                  <a:pt x="85" y="102"/>
                  <a:pt x="85" y="102"/>
                </a:cubicBezTo>
                <a:cubicBezTo>
                  <a:pt x="85" y="102"/>
                  <a:pt x="84" y="101"/>
                  <a:pt x="84" y="101"/>
                </a:cubicBezTo>
                <a:cubicBezTo>
                  <a:pt x="71" y="101"/>
                  <a:pt x="71" y="101"/>
                  <a:pt x="71" y="101"/>
                </a:cubicBezTo>
                <a:cubicBezTo>
                  <a:pt x="71" y="101"/>
                  <a:pt x="70" y="102"/>
                  <a:pt x="70" y="102"/>
                </a:cubicBezTo>
                <a:cubicBezTo>
                  <a:pt x="70" y="102"/>
                  <a:pt x="69" y="103"/>
                  <a:pt x="69" y="105"/>
                </a:cubicBezTo>
                <a:cubicBezTo>
                  <a:pt x="69" y="105"/>
                  <a:pt x="69" y="106"/>
                  <a:pt x="69" y="106"/>
                </a:cubicBezTo>
                <a:cubicBezTo>
                  <a:pt x="69" y="106"/>
                  <a:pt x="69" y="107"/>
                  <a:pt x="69" y="107"/>
                </a:cubicBezTo>
                <a:cubicBezTo>
                  <a:pt x="69" y="107"/>
                  <a:pt x="69" y="107"/>
                  <a:pt x="69" y="108"/>
                </a:cubicBezTo>
                <a:cubicBezTo>
                  <a:pt x="69" y="110"/>
                  <a:pt x="70" y="110"/>
                  <a:pt x="70" y="110"/>
                </a:cubicBezTo>
                <a:cubicBezTo>
                  <a:pt x="70" y="110"/>
                  <a:pt x="71" y="111"/>
                  <a:pt x="71" y="111"/>
                </a:cubicBezTo>
                <a:cubicBezTo>
                  <a:pt x="71" y="111"/>
                  <a:pt x="72" y="111"/>
                  <a:pt x="72" y="111"/>
                </a:cubicBezTo>
                <a:cubicBezTo>
                  <a:pt x="73" y="114"/>
                  <a:pt x="73" y="114"/>
                  <a:pt x="73" y="114"/>
                </a:cubicBezTo>
                <a:cubicBezTo>
                  <a:pt x="73" y="114"/>
                  <a:pt x="74" y="114"/>
                  <a:pt x="74" y="114"/>
                </a:cubicBezTo>
                <a:cubicBezTo>
                  <a:pt x="81" y="114"/>
                  <a:pt x="81" y="114"/>
                  <a:pt x="81" y="114"/>
                </a:cubicBezTo>
                <a:cubicBezTo>
                  <a:pt x="81" y="114"/>
                  <a:pt x="82" y="114"/>
                  <a:pt x="82" y="114"/>
                </a:cubicBezTo>
                <a:cubicBezTo>
                  <a:pt x="83" y="111"/>
                  <a:pt x="83" y="111"/>
                  <a:pt x="83" y="111"/>
                </a:cubicBezTo>
                <a:cubicBezTo>
                  <a:pt x="84" y="111"/>
                  <a:pt x="84" y="111"/>
                  <a:pt x="84" y="111"/>
                </a:cubicBezTo>
                <a:cubicBezTo>
                  <a:pt x="84" y="111"/>
                  <a:pt x="85" y="110"/>
                  <a:pt x="85" y="110"/>
                </a:cubicBezTo>
                <a:cubicBezTo>
                  <a:pt x="85" y="110"/>
                  <a:pt x="86" y="110"/>
                  <a:pt x="86" y="108"/>
                </a:cubicBezTo>
                <a:cubicBezTo>
                  <a:pt x="86" y="107"/>
                  <a:pt x="86" y="107"/>
                  <a:pt x="86" y="107"/>
                </a:cubicBezTo>
                <a:cubicBezTo>
                  <a:pt x="86" y="107"/>
                  <a:pt x="86" y="106"/>
                  <a:pt x="86" y="106"/>
                </a:cubicBezTo>
                <a:cubicBezTo>
                  <a:pt x="86" y="106"/>
                  <a:pt x="86" y="105"/>
                  <a:pt x="86" y="105"/>
                </a:cubicBezTo>
                <a:moveTo>
                  <a:pt x="78" y="10"/>
                </a:moveTo>
                <a:cubicBezTo>
                  <a:pt x="114" y="10"/>
                  <a:pt x="144" y="40"/>
                  <a:pt x="145" y="77"/>
                </a:cubicBezTo>
                <a:cubicBezTo>
                  <a:pt x="145" y="94"/>
                  <a:pt x="138" y="111"/>
                  <a:pt x="125" y="124"/>
                </a:cubicBezTo>
                <a:cubicBezTo>
                  <a:pt x="113" y="137"/>
                  <a:pt x="96" y="144"/>
                  <a:pt x="78" y="144"/>
                </a:cubicBezTo>
                <a:cubicBezTo>
                  <a:pt x="78" y="144"/>
                  <a:pt x="78" y="144"/>
                  <a:pt x="78" y="144"/>
                </a:cubicBezTo>
                <a:cubicBezTo>
                  <a:pt x="41" y="144"/>
                  <a:pt x="11" y="115"/>
                  <a:pt x="11" y="78"/>
                </a:cubicBezTo>
                <a:cubicBezTo>
                  <a:pt x="10" y="60"/>
                  <a:pt x="17" y="43"/>
                  <a:pt x="30" y="30"/>
                </a:cubicBezTo>
                <a:cubicBezTo>
                  <a:pt x="42" y="18"/>
                  <a:pt x="59" y="10"/>
                  <a:pt x="77" y="10"/>
                </a:cubicBezTo>
                <a:cubicBezTo>
                  <a:pt x="78" y="10"/>
                  <a:pt x="78" y="10"/>
                  <a:pt x="78" y="10"/>
                </a:cubicBezTo>
                <a:cubicBezTo>
                  <a:pt x="78" y="10"/>
                  <a:pt x="78" y="10"/>
                  <a:pt x="78" y="10"/>
                </a:cubicBezTo>
                <a:moveTo>
                  <a:pt x="78" y="0"/>
                </a:moveTo>
                <a:cubicBezTo>
                  <a:pt x="77" y="0"/>
                  <a:pt x="77" y="0"/>
                  <a:pt x="77" y="0"/>
                </a:cubicBezTo>
                <a:cubicBezTo>
                  <a:pt x="34" y="1"/>
                  <a:pt x="0" y="36"/>
                  <a:pt x="1" y="78"/>
                </a:cubicBezTo>
                <a:cubicBezTo>
                  <a:pt x="1" y="120"/>
                  <a:pt x="36" y="154"/>
                  <a:pt x="78" y="154"/>
                </a:cubicBezTo>
                <a:cubicBezTo>
                  <a:pt x="78" y="154"/>
                  <a:pt x="78" y="154"/>
                  <a:pt x="78" y="154"/>
                </a:cubicBezTo>
                <a:cubicBezTo>
                  <a:pt x="121" y="154"/>
                  <a:pt x="155" y="119"/>
                  <a:pt x="154" y="76"/>
                </a:cubicBezTo>
                <a:cubicBezTo>
                  <a:pt x="154" y="34"/>
                  <a:pt x="120" y="0"/>
                  <a:pt x="7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07" tIns="60953" rIns="121907" bIns="60953" numCol="1" anchor="t" anchorCtr="0" compatLnSpc="1">
            <a:prstTxWarp prst="textNoShape">
              <a:avLst/>
            </a:prstTxWarp>
          </a:bodyPr>
          <a:lstStyle/>
          <a:p>
            <a:endParaRPr lang="en-US" sz="2400" dirty="0">
              <a:latin typeface="Segoe UI"/>
            </a:endParaRPr>
          </a:p>
        </p:txBody>
      </p:sp>
      <p:graphicFrame>
        <p:nvGraphicFramePr>
          <p:cNvPr id="3" name="Table 2">
            <a:extLst>
              <a:ext uri="{FF2B5EF4-FFF2-40B4-BE49-F238E27FC236}">
                <a16:creationId xmlns:a16="http://schemas.microsoft.com/office/drawing/2014/main" id="{40810547-279C-4837-96BA-A9469A115D4C}"/>
              </a:ext>
            </a:extLst>
          </p:cNvPr>
          <p:cNvGraphicFramePr>
            <a:graphicFrameLocks noGrp="1"/>
          </p:cNvGraphicFramePr>
          <p:nvPr>
            <p:extLst>
              <p:ext uri="{D42A27DB-BD31-4B8C-83A1-F6EECF244321}">
                <p14:modId xmlns:p14="http://schemas.microsoft.com/office/powerpoint/2010/main" val="499011936"/>
              </p:ext>
            </p:extLst>
          </p:nvPr>
        </p:nvGraphicFramePr>
        <p:xfrm>
          <a:off x="4247480" y="0"/>
          <a:ext cx="7944520" cy="7584339"/>
        </p:xfrm>
        <a:graphic>
          <a:graphicData uri="http://schemas.openxmlformats.org/drawingml/2006/table">
            <a:tbl>
              <a:tblPr>
                <a:tableStyleId>{EB344D84-9AFB-497E-A393-DC336BA19D2E}</a:tableStyleId>
              </a:tblPr>
              <a:tblGrid>
                <a:gridCol w="3044069">
                  <a:extLst>
                    <a:ext uri="{9D8B030D-6E8A-4147-A177-3AD203B41FA5}">
                      <a16:colId xmlns:a16="http://schemas.microsoft.com/office/drawing/2014/main" val="28805593"/>
                    </a:ext>
                  </a:extLst>
                </a:gridCol>
                <a:gridCol w="4900451">
                  <a:extLst>
                    <a:ext uri="{9D8B030D-6E8A-4147-A177-3AD203B41FA5}">
                      <a16:colId xmlns:a16="http://schemas.microsoft.com/office/drawing/2014/main" val="1502927622"/>
                    </a:ext>
                  </a:extLst>
                </a:gridCol>
              </a:tblGrid>
              <a:tr h="928982">
                <a:tc>
                  <a:txBody>
                    <a:bodyPr/>
                    <a:lstStyle/>
                    <a:p>
                      <a:pPr marL="0" marR="0" algn="ctr">
                        <a:spcBef>
                          <a:spcPts val="300"/>
                        </a:spcBef>
                        <a:spcAft>
                          <a:spcPts val="300"/>
                        </a:spcAft>
                      </a:pPr>
                      <a:r>
                        <a:rPr lang="en-US" sz="1200" b="1" dirty="0">
                          <a:solidFill>
                            <a:schemeClr val="bg1"/>
                          </a:solidFill>
                          <a:effectLst/>
                        </a:rPr>
                        <a:t>Objection</a:t>
                      </a:r>
                      <a:endParaRPr lang="en-US" sz="1200" b="1" dirty="0">
                        <a:solidFill>
                          <a:schemeClr val="bg1"/>
                        </a:solidFill>
                        <a:effectLst/>
                        <a:latin typeface="Segoe UI" panose="020B0502040204020203" pitchFamily="34" charset="0"/>
                        <a:ea typeface="Times New Roman" panose="02020603050405020304" pitchFamily="18" charset="0"/>
                        <a:cs typeface="Times New Roman" panose="02020603050405020304" pitchFamily="18" charset="0"/>
                      </a:endParaRPr>
                    </a:p>
                  </a:txBody>
                  <a:tcPr marL="62329" marR="62329" marT="0" marB="0">
                    <a:solidFill>
                      <a:schemeClr val="tx1"/>
                    </a:solidFill>
                  </a:tcPr>
                </a:tc>
                <a:tc>
                  <a:txBody>
                    <a:bodyPr/>
                    <a:lstStyle/>
                    <a:p>
                      <a:pPr marL="0" marR="0" algn="ctr">
                        <a:spcBef>
                          <a:spcPts val="300"/>
                        </a:spcBef>
                        <a:spcAft>
                          <a:spcPts val="300"/>
                        </a:spcAft>
                      </a:pPr>
                      <a:r>
                        <a:rPr lang="en-US" sz="1200" b="1" dirty="0">
                          <a:solidFill>
                            <a:schemeClr val="bg1"/>
                          </a:solidFill>
                          <a:effectLst/>
                        </a:rPr>
                        <a:t>How to respond</a:t>
                      </a:r>
                    </a:p>
                    <a:p>
                      <a:pPr marL="0" marR="0" algn="ctr">
                        <a:spcBef>
                          <a:spcPts val="300"/>
                        </a:spcBef>
                        <a:spcAft>
                          <a:spcPts val="300"/>
                        </a:spcAft>
                      </a:pPr>
                      <a:endParaRPr lang="en-US" sz="1200" b="1" dirty="0">
                        <a:solidFill>
                          <a:schemeClr val="bg1"/>
                        </a:solidFill>
                        <a:effectLst/>
                        <a:latin typeface="Segoe UI" panose="020B0502040204020203" pitchFamily="34" charset="0"/>
                        <a:ea typeface="Times New Roman" panose="02020603050405020304" pitchFamily="18" charset="0"/>
                        <a:cs typeface="Times New Roman" panose="02020603050405020304" pitchFamily="18" charset="0"/>
                      </a:endParaRPr>
                    </a:p>
                  </a:txBody>
                  <a:tcPr marL="62329" marR="62329" marT="0" marB="0">
                    <a:solidFill>
                      <a:schemeClr val="tx1"/>
                    </a:solidFill>
                  </a:tcPr>
                </a:tc>
                <a:extLst>
                  <a:ext uri="{0D108BD9-81ED-4DB2-BD59-A6C34878D82A}">
                    <a16:rowId xmlns:a16="http://schemas.microsoft.com/office/drawing/2014/main" val="2993249123"/>
                  </a:ext>
                </a:extLst>
              </a:tr>
              <a:tr h="1362932">
                <a:tc>
                  <a:txBody>
                    <a:bodyPr/>
                    <a:lstStyle/>
                    <a:p>
                      <a:pPr marL="0" marR="0" algn="ctr">
                        <a:spcBef>
                          <a:spcPts val="300"/>
                        </a:spcBef>
                        <a:spcAft>
                          <a:spcPts val="300"/>
                        </a:spcAft>
                      </a:pPr>
                      <a:r>
                        <a:rPr lang="en-US" sz="1200" dirty="0">
                          <a:solidFill>
                            <a:schemeClr val="bg1"/>
                          </a:solidFill>
                          <a:effectLst/>
                        </a:rPr>
                        <a:t>Our data isn’t usable for this purpose. It will take too long to clean it and get it ready for analytics.</a:t>
                      </a:r>
                      <a:endParaRPr lang="en-US" sz="1200" dirty="0">
                        <a:solidFill>
                          <a:schemeClr val="bg1"/>
                        </a:solidFill>
                        <a:effectLst/>
                        <a:latin typeface="Segoe UI" panose="020B0502040204020203" pitchFamily="34" charset="0"/>
                        <a:ea typeface="Times New Roman" panose="02020603050405020304" pitchFamily="18" charset="0"/>
                        <a:cs typeface="Times New Roman" panose="02020603050405020304" pitchFamily="18" charset="0"/>
                      </a:endParaRPr>
                    </a:p>
                  </a:txBody>
                  <a:tcPr marL="62329" marR="62329" marT="0" marB="0">
                    <a:solidFill>
                      <a:schemeClr val="tx1">
                        <a:lumMod val="75000"/>
                      </a:schemeClr>
                    </a:solidFill>
                  </a:tcPr>
                </a:tc>
                <a:tc>
                  <a:txBody>
                    <a:bodyPr/>
                    <a:lstStyle/>
                    <a:p>
                      <a:pPr marL="0" marR="0">
                        <a:spcBef>
                          <a:spcPts val="300"/>
                        </a:spcBef>
                        <a:spcAft>
                          <a:spcPts val="300"/>
                        </a:spcAft>
                      </a:pPr>
                      <a:r>
                        <a:rPr lang="en-US" sz="1200" dirty="0">
                          <a:solidFill>
                            <a:srgbClr val="FFFFFF"/>
                          </a:solidFill>
                          <a:effectLst/>
                        </a:rPr>
                        <a:t>You can get started quickly by connecting Power BI to your existing data sources to provide rich visualizations and easy-to-build dashboards. </a:t>
                      </a:r>
                    </a:p>
                    <a:p>
                      <a:pPr marL="0" marR="0">
                        <a:spcBef>
                          <a:spcPts val="300"/>
                        </a:spcBef>
                        <a:spcAft>
                          <a:spcPts val="300"/>
                        </a:spcAft>
                      </a:pPr>
                      <a:r>
                        <a:rPr lang="en-US" sz="1200" dirty="0">
                          <a:solidFill>
                            <a:srgbClr val="FFFFFF"/>
                          </a:solidFill>
                          <a:effectLst/>
                        </a:rPr>
                        <a:t>Then you can start to clean and rationalize your data to enable more advanced scenarios at the same time that your school is making better use of the data you already have.</a:t>
                      </a:r>
                      <a:endParaRPr lang="en-US" sz="1200" dirty="0">
                        <a:solidFill>
                          <a:srgbClr val="FFFFFF"/>
                        </a:solidFill>
                        <a:effectLst/>
                        <a:latin typeface="Segoe UI" panose="020B0502040204020203" pitchFamily="34" charset="0"/>
                        <a:ea typeface="Times New Roman" panose="02020603050405020304" pitchFamily="18" charset="0"/>
                        <a:cs typeface="Times New Roman" panose="02020603050405020304" pitchFamily="18" charset="0"/>
                      </a:endParaRPr>
                    </a:p>
                  </a:txBody>
                  <a:tcPr marL="62329" marR="62329" marT="0" marB="0">
                    <a:solidFill>
                      <a:srgbClr val="00B0F0"/>
                    </a:solidFill>
                  </a:tcPr>
                </a:tc>
                <a:extLst>
                  <a:ext uri="{0D108BD9-81ED-4DB2-BD59-A6C34878D82A}">
                    <a16:rowId xmlns:a16="http://schemas.microsoft.com/office/drawing/2014/main" val="3552511303"/>
                  </a:ext>
                </a:extLst>
              </a:tr>
              <a:tr h="1663839">
                <a:tc>
                  <a:txBody>
                    <a:bodyPr/>
                    <a:lstStyle/>
                    <a:p>
                      <a:pPr marL="0" marR="0" algn="ctr">
                        <a:spcBef>
                          <a:spcPts val="300"/>
                        </a:spcBef>
                        <a:spcAft>
                          <a:spcPts val="300"/>
                        </a:spcAft>
                      </a:pPr>
                      <a:r>
                        <a:rPr lang="en-US" sz="1200" dirty="0">
                          <a:solidFill>
                            <a:schemeClr val="bg1"/>
                          </a:solidFill>
                          <a:effectLst/>
                        </a:rPr>
                        <a:t>I can’t store data in the cloud because I’m concerned about security and privacy.</a:t>
                      </a:r>
                      <a:endParaRPr lang="en-US" sz="1200" dirty="0">
                        <a:solidFill>
                          <a:schemeClr val="bg1"/>
                        </a:solidFill>
                        <a:effectLst/>
                        <a:latin typeface="Segoe UI" panose="020B0502040204020203" pitchFamily="34" charset="0"/>
                        <a:ea typeface="Times New Roman" panose="02020603050405020304" pitchFamily="18" charset="0"/>
                        <a:cs typeface="Times New Roman" panose="02020603050405020304" pitchFamily="18" charset="0"/>
                      </a:endParaRPr>
                    </a:p>
                  </a:txBody>
                  <a:tcPr marL="62329" marR="62329" marT="0" marB="0">
                    <a:solidFill>
                      <a:schemeClr val="tx1">
                        <a:lumMod val="75000"/>
                      </a:schemeClr>
                    </a:solidFill>
                  </a:tcPr>
                </a:tc>
                <a:tc>
                  <a:txBody>
                    <a:bodyPr/>
                    <a:lstStyle/>
                    <a:p>
                      <a:pPr marL="0" marR="0">
                        <a:spcBef>
                          <a:spcPts val="300"/>
                        </a:spcBef>
                        <a:spcAft>
                          <a:spcPts val="300"/>
                        </a:spcAft>
                      </a:pPr>
                      <a:r>
                        <a:rPr lang="en-US" sz="1200" dirty="0">
                          <a:solidFill>
                            <a:srgbClr val="FFFFFF"/>
                          </a:solidFill>
                          <a:effectLst/>
                        </a:rPr>
                        <a:t>Microsoft Azure provides best-in-class security features across the platform to ensure that student data stays secure and is only accessible by people with an appropriate need. </a:t>
                      </a:r>
                    </a:p>
                    <a:p>
                      <a:pPr marL="0" marR="0">
                        <a:spcBef>
                          <a:spcPts val="300"/>
                        </a:spcBef>
                        <a:spcAft>
                          <a:spcPts val="300"/>
                        </a:spcAft>
                      </a:pPr>
                      <a:r>
                        <a:rPr lang="en-US" sz="1200" dirty="0">
                          <a:solidFill>
                            <a:srgbClr val="FFFFFF"/>
                          </a:solidFill>
                          <a:effectLst/>
                        </a:rPr>
                        <a:t>Data can be encrypted in-transit or at-rest, and role-based access control ensures appropriate data access. </a:t>
                      </a:r>
                    </a:p>
                    <a:p>
                      <a:pPr marL="0" marR="0">
                        <a:spcBef>
                          <a:spcPts val="300"/>
                        </a:spcBef>
                        <a:spcAft>
                          <a:spcPts val="300"/>
                        </a:spcAft>
                      </a:pPr>
                      <a:r>
                        <a:rPr lang="en-US" sz="1200" dirty="0">
                          <a:solidFill>
                            <a:srgbClr val="FFFFFF"/>
                          </a:solidFill>
                          <a:effectLst/>
                        </a:rPr>
                        <a:t>(For EU customers) Azure provides a complete set of capabilities to ensure GDPR compliance.</a:t>
                      </a:r>
                      <a:endParaRPr lang="en-US" sz="1200" dirty="0">
                        <a:solidFill>
                          <a:srgbClr val="FFFFFF"/>
                        </a:solidFill>
                        <a:effectLst/>
                        <a:latin typeface="Segoe UI" panose="020B0502040204020203" pitchFamily="34" charset="0"/>
                        <a:ea typeface="Times New Roman" panose="02020603050405020304" pitchFamily="18" charset="0"/>
                        <a:cs typeface="Times New Roman" panose="02020603050405020304" pitchFamily="18" charset="0"/>
                      </a:endParaRPr>
                    </a:p>
                  </a:txBody>
                  <a:tcPr marL="62329" marR="62329" marT="0" marB="0">
                    <a:solidFill>
                      <a:srgbClr val="0070C0"/>
                    </a:solidFill>
                  </a:tcPr>
                </a:tc>
                <a:extLst>
                  <a:ext uri="{0D108BD9-81ED-4DB2-BD59-A6C34878D82A}">
                    <a16:rowId xmlns:a16="http://schemas.microsoft.com/office/drawing/2014/main" val="1843611040"/>
                  </a:ext>
                </a:extLst>
              </a:tr>
              <a:tr h="1575337">
                <a:tc>
                  <a:txBody>
                    <a:bodyPr/>
                    <a:lstStyle/>
                    <a:p>
                      <a:pPr marL="0" marR="0" algn="ctr">
                        <a:spcBef>
                          <a:spcPts val="300"/>
                        </a:spcBef>
                        <a:spcAft>
                          <a:spcPts val="300"/>
                        </a:spcAft>
                      </a:pPr>
                      <a:r>
                        <a:rPr lang="en-US" sz="1200" dirty="0">
                          <a:solidFill>
                            <a:schemeClr val="bg1"/>
                          </a:solidFill>
                          <a:effectLst/>
                        </a:rPr>
                        <a:t>This will cost too much, I’d rather own my infrastructure.</a:t>
                      </a:r>
                      <a:endParaRPr lang="en-US" sz="1200" dirty="0">
                        <a:solidFill>
                          <a:schemeClr val="bg1"/>
                        </a:solidFill>
                        <a:effectLst/>
                        <a:latin typeface="Segoe UI" panose="020B0502040204020203" pitchFamily="34" charset="0"/>
                        <a:ea typeface="Times New Roman" panose="02020603050405020304" pitchFamily="18" charset="0"/>
                        <a:cs typeface="Times New Roman" panose="02020603050405020304" pitchFamily="18" charset="0"/>
                      </a:endParaRPr>
                    </a:p>
                  </a:txBody>
                  <a:tcPr marL="62329" marR="62329" marT="0" marB="0">
                    <a:solidFill>
                      <a:schemeClr val="tx1">
                        <a:lumMod val="75000"/>
                      </a:schemeClr>
                    </a:solidFill>
                  </a:tcPr>
                </a:tc>
                <a:tc>
                  <a:txBody>
                    <a:bodyPr/>
                    <a:lstStyle/>
                    <a:p>
                      <a:pPr marL="0" marR="0" algn="l" defTabSz="914367" rtl="0" eaLnBrk="1" latinLnBrk="0" hangingPunct="1">
                        <a:spcBef>
                          <a:spcPts val="300"/>
                        </a:spcBef>
                        <a:spcAft>
                          <a:spcPts val="300"/>
                        </a:spcAft>
                      </a:pPr>
                      <a:r>
                        <a:rPr lang="en-US" sz="1200" kern="1200" dirty="0">
                          <a:solidFill>
                            <a:srgbClr val="FFFFFF"/>
                          </a:solidFill>
                          <a:effectLst/>
                          <a:latin typeface="+mn-lt"/>
                          <a:ea typeface="+mn-ea"/>
                          <a:cs typeface="+mn-cs"/>
                        </a:rPr>
                        <a:t>Purchasing your own infrastructure requires a large up-front investment for hardware that will be underutilized most of its useful life. </a:t>
                      </a:r>
                    </a:p>
                    <a:p>
                      <a:pPr marL="0" marR="0" algn="l" defTabSz="914367" rtl="0" eaLnBrk="1" latinLnBrk="0" hangingPunct="1">
                        <a:spcBef>
                          <a:spcPts val="300"/>
                        </a:spcBef>
                        <a:spcAft>
                          <a:spcPts val="300"/>
                        </a:spcAft>
                      </a:pPr>
                      <a:r>
                        <a:rPr lang="en-US" sz="1200" kern="1200" dirty="0">
                          <a:solidFill>
                            <a:srgbClr val="FFFFFF"/>
                          </a:solidFill>
                          <a:effectLst/>
                          <a:latin typeface="+mn-lt"/>
                          <a:ea typeface="+mn-ea"/>
                          <a:cs typeface="+mn-cs"/>
                        </a:rPr>
                        <a:t>With Azure, you can add additional resources when needed, such as during the start of a new term or during annual testing, and scale down during times of lower demand. Azure lets you reduce your total cost of ownership and pay only for what you use.</a:t>
                      </a:r>
                    </a:p>
                  </a:txBody>
                  <a:tcPr marL="62329" marR="62329" marT="0" marB="0">
                    <a:solidFill>
                      <a:srgbClr val="00B0F0"/>
                    </a:solidFill>
                  </a:tcPr>
                </a:tc>
                <a:extLst>
                  <a:ext uri="{0D108BD9-81ED-4DB2-BD59-A6C34878D82A}">
                    <a16:rowId xmlns:a16="http://schemas.microsoft.com/office/drawing/2014/main" val="2122374001"/>
                  </a:ext>
                </a:extLst>
              </a:tr>
              <a:tr h="2053249">
                <a:tc>
                  <a:txBody>
                    <a:bodyPr/>
                    <a:lstStyle/>
                    <a:p>
                      <a:pPr marL="0" marR="0" algn="ctr">
                        <a:spcBef>
                          <a:spcPts val="300"/>
                        </a:spcBef>
                        <a:spcAft>
                          <a:spcPts val="300"/>
                        </a:spcAft>
                      </a:pPr>
                      <a:r>
                        <a:rPr lang="en-US" sz="1200" dirty="0">
                          <a:solidFill>
                            <a:schemeClr val="bg1"/>
                          </a:solidFill>
                          <a:effectLst/>
                        </a:rPr>
                        <a:t>I’m not convinced that the big data approach is effective in education.</a:t>
                      </a:r>
                      <a:endParaRPr lang="en-US" sz="1200" dirty="0">
                        <a:solidFill>
                          <a:schemeClr val="bg1"/>
                        </a:solidFill>
                        <a:effectLst/>
                        <a:latin typeface="Segoe UI" panose="020B0502040204020203" pitchFamily="34" charset="0"/>
                        <a:ea typeface="Times New Roman" panose="02020603050405020304" pitchFamily="18" charset="0"/>
                        <a:cs typeface="Times New Roman" panose="02020603050405020304" pitchFamily="18" charset="0"/>
                      </a:endParaRPr>
                    </a:p>
                  </a:txBody>
                  <a:tcPr marL="62329" marR="62329" marT="0" marB="0">
                    <a:solidFill>
                      <a:schemeClr val="tx1">
                        <a:lumMod val="75000"/>
                      </a:schemeClr>
                    </a:solidFill>
                  </a:tcPr>
                </a:tc>
                <a:tc>
                  <a:txBody>
                    <a:bodyPr/>
                    <a:lstStyle/>
                    <a:p>
                      <a:pPr marL="0" marR="0">
                        <a:spcBef>
                          <a:spcPts val="300"/>
                        </a:spcBef>
                        <a:spcAft>
                          <a:spcPts val="300"/>
                        </a:spcAft>
                      </a:pPr>
                      <a:r>
                        <a:rPr lang="en-US" sz="1200" dirty="0">
                          <a:solidFill>
                            <a:srgbClr val="FFFFFF"/>
                          </a:solidFill>
                          <a:effectLst/>
                        </a:rPr>
                        <a:t>We’ve seen many customers be successful by embracing data and predictive analytics strategies. </a:t>
                      </a:r>
                    </a:p>
                    <a:p>
                      <a:pPr marL="0" marR="0">
                        <a:spcBef>
                          <a:spcPts val="300"/>
                        </a:spcBef>
                        <a:spcAft>
                          <a:spcPts val="300"/>
                        </a:spcAft>
                      </a:pPr>
                      <a:r>
                        <a:rPr lang="en-US" sz="1200" dirty="0">
                          <a:solidFill>
                            <a:srgbClr val="FFFFFF"/>
                          </a:solidFill>
                          <a:effectLst/>
                        </a:rPr>
                        <a:t>For example, Tacoma Public Schools increased their high school graduation rate from 55% to 82.6% in just six years by adopting a holistic analytics approach that used data to improve student support.</a:t>
                      </a:r>
                    </a:p>
                    <a:p>
                      <a:pPr marL="0" marR="0">
                        <a:spcBef>
                          <a:spcPts val="300"/>
                        </a:spcBef>
                        <a:spcAft>
                          <a:spcPts val="300"/>
                        </a:spcAft>
                      </a:pPr>
                      <a:r>
                        <a:rPr lang="en-US" sz="1200" dirty="0">
                          <a:solidFill>
                            <a:srgbClr val="FFFFFF"/>
                          </a:solidFill>
                          <a:effectLst/>
                        </a:rPr>
                        <a:t> </a:t>
                      </a:r>
                    </a:p>
                    <a:p>
                      <a:pPr marL="0" marR="0">
                        <a:spcBef>
                          <a:spcPts val="300"/>
                        </a:spcBef>
                        <a:spcAft>
                          <a:spcPts val="300"/>
                        </a:spcAft>
                      </a:pPr>
                      <a:r>
                        <a:rPr lang="en-US" sz="1200" dirty="0">
                          <a:effectLst/>
                        </a:rPr>
                        <a:t> </a:t>
                      </a:r>
                    </a:p>
                    <a:p>
                      <a:pPr marL="0" marR="0">
                        <a:spcBef>
                          <a:spcPts val="300"/>
                        </a:spcBef>
                        <a:spcAft>
                          <a:spcPts val="300"/>
                        </a:spcAft>
                      </a:pPr>
                      <a:r>
                        <a:rPr lang="en-US" sz="1200" dirty="0">
                          <a:effectLst/>
                        </a:rPr>
                        <a:t> </a:t>
                      </a:r>
                      <a:endParaRPr lang="en-US" sz="1200" dirty="0">
                        <a:solidFill>
                          <a:srgbClr val="505050"/>
                        </a:solidFill>
                        <a:effectLst/>
                        <a:latin typeface="Segoe UI" panose="020B0502040204020203" pitchFamily="34" charset="0"/>
                        <a:ea typeface="Times New Roman" panose="02020603050405020304" pitchFamily="18" charset="0"/>
                        <a:cs typeface="Times New Roman" panose="02020603050405020304" pitchFamily="18" charset="0"/>
                      </a:endParaRPr>
                    </a:p>
                  </a:txBody>
                  <a:tcPr marL="62329" marR="62329" marT="0" marB="0">
                    <a:solidFill>
                      <a:srgbClr val="0070C0"/>
                    </a:solidFill>
                  </a:tcPr>
                </a:tc>
                <a:extLst>
                  <a:ext uri="{0D108BD9-81ED-4DB2-BD59-A6C34878D82A}">
                    <a16:rowId xmlns:a16="http://schemas.microsoft.com/office/drawing/2014/main" val="3447984956"/>
                  </a:ext>
                </a:extLst>
              </a:tr>
            </a:tbl>
          </a:graphicData>
        </a:graphic>
      </p:graphicFrame>
    </p:spTree>
    <p:extLst>
      <p:ext uri="{BB962C8B-B14F-4D97-AF65-F5344CB8AC3E}">
        <p14:creationId xmlns:p14="http://schemas.microsoft.com/office/powerpoint/2010/main" val="221600875"/>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bwMode="auto">
          <a:xfrm flipV="1">
            <a:off x="1732" y="4230577"/>
            <a:ext cx="12188541" cy="2626451"/>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9" tIns="146263" rIns="182829" bIns="146263" numCol="1" spcCol="0" rtlCol="0" fromWordArt="0" anchor="t" anchorCtr="0" forceAA="0" compatLnSpc="1">
            <a:prstTxWarp prst="textNoShape">
              <a:avLst/>
            </a:prstTxWarp>
            <a:noAutofit/>
          </a:bodyPr>
          <a:lstStyle/>
          <a:p>
            <a:pPr marL="0" marR="0" lvl="0" indent="0" algn="ctr" defTabSz="93223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 name="Title 4"/>
          <p:cNvSpPr>
            <a:spLocks noGrp="1"/>
          </p:cNvSpPr>
          <p:nvPr>
            <p:ph type="title"/>
          </p:nvPr>
        </p:nvSpPr>
        <p:spPr>
          <a:xfrm>
            <a:off x="3369019" y="1183635"/>
            <a:ext cx="8222568" cy="917315"/>
          </a:xfrm>
        </p:spPr>
        <p:txBody>
          <a:bodyPr vert="horz" wrap="square" lIns="146263" tIns="91414" rIns="146263" bIns="91414" rtlCol="0" anchor="t">
            <a:noAutofit/>
          </a:bodyPr>
          <a:lstStyle/>
          <a:p>
            <a:r>
              <a:rPr lang="en-US" sz="3200" dirty="0">
                <a:solidFill>
                  <a:schemeClr val="tx1"/>
                </a:solidFill>
              </a:rPr>
              <a:t>Azure - Built for Enterprise scale</a:t>
            </a:r>
          </a:p>
        </p:txBody>
      </p:sp>
      <p:sp>
        <p:nvSpPr>
          <p:cNvPr id="18" name="TextBox 17"/>
          <p:cNvSpPr txBox="1"/>
          <p:nvPr/>
        </p:nvSpPr>
        <p:spPr>
          <a:xfrm>
            <a:off x="439755" y="4364287"/>
            <a:ext cx="3605658" cy="2424942"/>
          </a:xfrm>
          <a:prstGeom prst="rect">
            <a:avLst/>
          </a:prstGeom>
          <a:noFill/>
        </p:spPr>
        <p:txBody>
          <a:bodyPr wrap="square" lIns="182829" tIns="146263" rIns="182829" bIns="146263" rtlCol="0">
            <a:spAutoFit/>
          </a:bodyPr>
          <a:lstStyle/>
          <a:p>
            <a:pPr marL="0" marR="0" lvl="0" indent="0" algn="l" defTabSz="914165" rtl="0" eaLnBrk="1" fontAlgn="auto" latinLnBrk="0" hangingPunct="1">
              <a:lnSpc>
                <a:spcPct val="90000"/>
              </a:lnSpc>
              <a:spcBef>
                <a:spcPts val="0"/>
              </a:spcBef>
              <a:spcAft>
                <a:spcPts val="120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Segoe UI Semilight"/>
                <a:ea typeface="+mn-ea"/>
                <a:cs typeface="+mn-cs"/>
              </a:rPr>
              <a:t>Enterprise-grade</a:t>
            </a:r>
          </a:p>
          <a:p>
            <a:pPr marL="342812" marR="0" lvl="0" indent="-342812" algn="l" defTabSz="914165"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FFFFFF"/>
                </a:solidFill>
                <a:effectLst/>
                <a:uLnTx/>
                <a:uFillTx/>
                <a:latin typeface="Segoe UI Light"/>
                <a:ea typeface="+mn-ea"/>
                <a:cs typeface="+mn-cs"/>
              </a:rPr>
              <a:t>A trusted cloud – 57% of Fortune 500 companies rely on Azure</a:t>
            </a:r>
          </a:p>
          <a:p>
            <a:pPr marL="342812" marR="0" lvl="0" indent="-342812" algn="l" defTabSz="914165"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FFFFFF"/>
                </a:solidFill>
                <a:effectLst/>
                <a:uLnTx/>
                <a:uFillTx/>
                <a:latin typeface="Segoe UI Light"/>
                <a:ea typeface="+mn-ea"/>
                <a:cs typeface="+mn-cs"/>
              </a:rPr>
              <a:t>A recognized Leader in Gartner Magic Quadrants</a:t>
            </a:r>
          </a:p>
          <a:p>
            <a:pPr marL="342812" marR="0" lvl="0" indent="-342812" algn="l" defTabSz="914165"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FFFFFF"/>
                </a:solidFill>
                <a:effectLst/>
                <a:uLnTx/>
                <a:uFillTx/>
                <a:latin typeface="Segoe UI Light"/>
                <a:ea typeface="+mn-ea"/>
                <a:cs typeface="+mn-cs"/>
              </a:rPr>
              <a:t>Industry-leading commitments to data protection, security measures, privacy policies, and international compliance programs</a:t>
            </a:r>
          </a:p>
        </p:txBody>
      </p:sp>
      <p:sp>
        <p:nvSpPr>
          <p:cNvPr id="19" name="TextBox 18"/>
          <p:cNvSpPr txBox="1"/>
          <p:nvPr/>
        </p:nvSpPr>
        <p:spPr>
          <a:xfrm>
            <a:off x="4422299" y="4364284"/>
            <a:ext cx="3772618" cy="2424942"/>
          </a:xfrm>
          <a:prstGeom prst="rect">
            <a:avLst/>
          </a:prstGeom>
          <a:noFill/>
        </p:spPr>
        <p:txBody>
          <a:bodyPr wrap="square" lIns="182829" tIns="146263" rIns="182829" bIns="146263" rtlCol="0">
            <a:spAutoFit/>
          </a:bodyPr>
          <a:lstStyle/>
          <a:p>
            <a:pPr marL="0" marR="0" lvl="0" indent="0" algn="l" defTabSz="914165" rtl="0" eaLnBrk="1" fontAlgn="auto" latinLnBrk="0" hangingPunct="1">
              <a:lnSpc>
                <a:spcPct val="90000"/>
              </a:lnSpc>
              <a:spcBef>
                <a:spcPts val="0"/>
              </a:spcBef>
              <a:spcAft>
                <a:spcPts val="120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Segoe UI Semilight"/>
                <a:ea typeface="+mn-ea"/>
                <a:cs typeface="+mn-cs"/>
              </a:rPr>
              <a:t>Hyper-scale</a:t>
            </a:r>
          </a:p>
          <a:p>
            <a:pPr marL="342812" marR="0" lvl="0" indent="-342812" algn="l" defTabSz="914165"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FFFFFF"/>
                </a:solidFill>
                <a:effectLst/>
                <a:uLnTx/>
                <a:uFillTx/>
                <a:latin typeface="Segoe UI Light"/>
                <a:ea typeface="+mn-ea"/>
                <a:cs typeface="+mn-cs"/>
              </a:rPr>
              <a:t>Runs your apps anywhere across 20+ regions</a:t>
            </a:r>
          </a:p>
          <a:p>
            <a:pPr marL="342812" marR="0" lvl="0" indent="-342812" algn="l" defTabSz="914165"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FFFFFF"/>
                </a:solidFill>
                <a:effectLst/>
                <a:uLnTx/>
                <a:uFillTx/>
                <a:latin typeface="Segoe UI Light"/>
                <a:ea typeface="+mn-ea"/>
                <a:cs typeface="+mn-cs"/>
              </a:rPr>
              <a:t>Provides an open and flexible platform from operating systems to coding languages </a:t>
            </a:r>
          </a:p>
          <a:p>
            <a:pPr marL="342812" marR="0" lvl="0" indent="-342812" algn="l" defTabSz="914165"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FFFFFF"/>
                </a:solidFill>
                <a:effectLst/>
                <a:uLnTx/>
                <a:uFillTx/>
                <a:latin typeface="Segoe UI Light"/>
                <a:ea typeface="+mn-ea"/>
                <a:cs typeface="+mn-cs"/>
              </a:rPr>
              <a:t>Delivers scale-as-you-need, pay-as-you-go models via Azure’s near infinite capacity</a:t>
            </a:r>
          </a:p>
        </p:txBody>
      </p:sp>
      <p:sp>
        <p:nvSpPr>
          <p:cNvPr id="20" name="TextBox 19"/>
          <p:cNvSpPr txBox="1"/>
          <p:nvPr/>
        </p:nvSpPr>
        <p:spPr>
          <a:xfrm>
            <a:off x="8571799" y="4364285"/>
            <a:ext cx="3590366" cy="2555754"/>
          </a:xfrm>
          <a:prstGeom prst="rect">
            <a:avLst/>
          </a:prstGeom>
          <a:noFill/>
        </p:spPr>
        <p:txBody>
          <a:bodyPr wrap="square" lIns="182829" tIns="146263" rIns="182829" bIns="146263" rtlCol="0">
            <a:spAutoFit/>
          </a:bodyPr>
          <a:lstStyle/>
          <a:p>
            <a:pPr marL="0" marR="0" lvl="0" indent="0" algn="l" defTabSz="914165" rtl="0" eaLnBrk="1" fontAlgn="auto" latinLnBrk="0" hangingPunct="1">
              <a:lnSpc>
                <a:spcPct val="90000"/>
              </a:lnSpc>
              <a:spcBef>
                <a:spcPts val="0"/>
              </a:spcBef>
              <a:spcAft>
                <a:spcPts val="120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Segoe UI Semilight"/>
                <a:ea typeface="+mn-ea"/>
                <a:cs typeface="+mn-cs"/>
              </a:rPr>
              <a:t>Hybrid</a:t>
            </a:r>
          </a:p>
          <a:p>
            <a:pPr marL="342812" marR="0" lvl="0" indent="-342812" algn="l" defTabSz="914165"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FFFFFF"/>
                </a:solidFill>
                <a:effectLst/>
                <a:uLnTx/>
                <a:uFillTx/>
                <a:latin typeface="Segoe UI Light"/>
                <a:ea typeface="+mn-ea"/>
                <a:cs typeface="+mn-cs"/>
              </a:rPr>
              <a:t>Extends your existing capabilities</a:t>
            </a:r>
          </a:p>
          <a:p>
            <a:pPr marL="342812" marR="0" lvl="0" indent="-342812" algn="l" defTabSz="914165"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FFFFFF"/>
                </a:solidFill>
                <a:effectLst/>
                <a:uLnTx/>
                <a:uFillTx/>
                <a:latin typeface="Segoe UI Light"/>
                <a:ea typeface="+mn-ea"/>
                <a:cs typeface="+mn-cs"/>
              </a:rPr>
              <a:t>Enables workloads to transition easily across customer sites, service provider datacenters and Azure</a:t>
            </a:r>
          </a:p>
          <a:p>
            <a:pPr marL="342812" marR="0" lvl="0" indent="-342812" algn="l" defTabSz="914165"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FFFFFF"/>
                </a:solidFill>
                <a:effectLst/>
                <a:uLnTx/>
                <a:uFillTx/>
                <a:latin typeface="Segoe UI Light"/>
                <a:ea typeface="+mn-ea"/>
                <a:cs typeface="+mn-cs"/>
              </a:rPr>
              <a:t>Empowers customers to deploy tiered workloads across environments, truly achieving the best of both clouds</a:t>
            </a:r>
          </a:p>
          <a:p>
            <a:pPr marL="0" marR="0" lvl="0" indent="0" algn="l" defTabSz="914165" rtl="0" eaLnBrk="1" fontAlgn="auto" latinLnBrk="0" hangingPunct="1">
              <a:lnSpc>
                <a:spcPct val="90000"/>
              </a:lnSpc>
              <a:spcBef>
                <a:spcPts val="0"/>
              </a:spcBef>
              <a:spcAft>
                <a:spcPts val="60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a typeface="+mn-ea"/>
              <a:cs typeface="+mn-cs"/>
            </a:endParaRPr>
          </a:p>
        </p:txBody>
      </p:sp>
      <p:cxnSp>
        <p:nvCxnSpPr>
          <p:cNvPr id="21" name="Straight Connector 20"/>
          <p:cNvCxnSpPr/>
          <p:nvPr/>
        </p:nvCxnSpPr>
        <p:spPr>
          <a:xfrm>
            <a:off x="4234391" y="1893075"/>
            <a:ext cx="0" cy="1969517"/>
          </a:xfrm>
          <a:prstGeom prst="line">
            <a:avLst/>
          </a:prstGeom>
          <a:ln w="31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8194915" y="1876868"/>
            <a:ext cx="0" cy="1969517"/>
          </a:xfrm>
          <a:prstGeom prst="line">
            <a:avLst/>
          </a:prstGeom>
          <a:ln w="31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23" name="Picture 22"/>
          <p:cNvPicPr>
            <a:picLocks noChangeAspect="1"/>
          </p:cNvPicPr>
          <p:nvPr/>
        </p:nvPicPr>
        <p:blipFill>
          <a:blip r:embed="rId3"/>
          <a:stretch>
            <a:fillRect/>
          </a:stretch>
        </p:blipFill>
        <p:spPr>
          <a:xfrm>
            <a:off x="9533510" y="2049710"/>
            <a:ext cx="1169177" cy="1665764"/>
          </a:xfrm>
          <a:prstGeom prst="rect">
            <a:avLst/>
          </a:prstGeom>
        </p:spPr>
      </p:pic>
      <p:pic>
        <p:nvPicPr>
          <p:cNvPr id="24" name="Picture 23"/>
          <p:cNvPicPr>
            <a:picLocks noChangeAspect="1"/>
          </p:cNvPicPr>
          <p:nvPr/>
        </p:nvPicPr>
        <p:blipFill>
          <a:blip r:embed="rId4"/>
          <a:stretch>
            <a:fillRect/>
          </a:stretch>
        </p:blipFill>
        <p:spPr>
          <a:xfrm>
            <a:off x="949751" y="2096110"/>
            <a:ext cx="2721728" cy="1821982"/>
          </a:xfrm>
          <a:prstGeom prst="rect">
            <a:avLst/>
          </a:prstGeom>
        </p:spPr>
      </p:pic>
      <p:pic>
        <p:nvPicPr>
          <p:cNvPr id="25" name="Picture 24"/>
          <p:cNvPicPr>
            <a:picLocks noChangeAspect="1"/>
          </p:cNvPicPr>
          <p:nvPr/>
        </p:nvPicPr>
        <p:blipFill>
          <a:blip r:embed="rId5"/>
          <a:stretch>
            <a:fillRect/>
          </a:stretch>
        </p:blipFill>
        <p:spPr>
          <a:xfrm>
            <a:off x="4985213" y="2234657"/>
            <a:ext cx="2646790" cy="1683435"/>
          </a:xfrm>
          <a:prstGeom prst="rect">
            <a:avLst/>
          </a:prstGeom>
        </p:spPr>
      </p:pic>
      <p:sp>
        <p:nvSpPr>
          <p:cNvPr id="12" name="Title 1">
            <a:extLst>
              <a:ext uri="{FF2B5EF4-FFF2-40B4-BE49-F238E27FC236}">
                <a16:creationId xmlns:a16="http://schemas.microsoft.com/office/drawing/2014/main" id="{34368CD0-37B4-474B-AE77-8F06963DBCD0}"/>
              </a:ext>
            </a:extLst>
          </p:cNvPr>
          <p:cNvSpPr txBox="1">
            <a:spLocks/>
          </p:cNvSpPr>
          <p:nvPr/>
        </p:nvSpPr>
        <p:spPr>
          <a:xfrm>
            <a:off x="0" y="71325"/>
            <a:ext cx="11656635"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gradFill>
                  <a:gsLst>
                    <a:gs pos="1250">
                      <a:srgbClr val="353535"/>
                    </a:gs>
                    <a:gs pos="100000">
                      <a:srgbClr val="353535"/>
                    </a:gs>
                  </a:gsLst>
                  <a:lin ang="5400000" scaled="0"/>
                </a:gradFill>
                <a:effectLst/>
                <a:uLnTx/>
                <a:uFillTx/>
                <a:latin typeface="Segoe UI Light"/>
                <a:ea typeface="+mn-ea"/>
                <a:cs typeface="Segoe UI" pitchFamily="34" charset="0"/>
              </a:rPr>
              <a:t>Highlight Benefits </a:t>
            </a:r>
            <a:r>
              <a:rPr kumimoji="0" lang="en-US" sz="4800" b="0" i="0" u="none" strike="noStrike" kern="1200" cap="none" spc="-102" normalizeH="0" baseline="0" noProof="0">
                <a:ln w="3175">
                  <a:noFill/>
                </a:ln>
                <a:gradFill>
                  <a:gsLst>
                    <a:gs pos="1250">
                      <a:srgbClr val="353535"/>
                    </a:gs>
                    <a:gs pos="100000">
                      <a:srgbClr val="353535"/>
                    </a:gs>
                  </a:gsLst>
                  <a:lin ang="5400000" scaled="0"/>
                </a:gradFill>
                <a:effectLst/>
                <a:uLnTx/>
                <a:uFillTx/>
                <a:latin typeface="Segoe UI Light"/>
                <a:ea typeface="+mn-ea"/>
                <a:cs typeface="Segoe UI" pitchFamily="34" charset="0"/>
              </a:rPr>
              <a:t>of Microsoft </a:t>
            </a:r>
            <a:r>
              <a:rPr kumimoji="0" lang="en-US" sz="4800" b="0" i="0" u="none" strike="noStrike" kern="1200" cap="none" spc="-102" normalizeH="0" baseline="0" noProof="0" dirty="0">
                <a:ln w="3175">
                  <a:noFill/>
                </a:ln>
                <a:gradFill>
                  <a:gsLst>
                    <a:gs pos="1250">
                      <a:srgbClr val="353535"/>
                    </a:gs>
                    <a:gs pos="100000">
                      <a:srgbClr val="353535"/>
                    </a:gs>
                  </a:gsLst>
                  <a:lin ang="5400000" scaled="0"/>
                </a:gradFill>
                <a:effectLst/>
                <a:uLnTx/>
                <a:uFillTx/>
                <a:latin typeface="Segoe UI Light"/>
                <a:ea typeface="+mn-ea"/>
                <a:cs typeface="Segoe UI" pitchFamily="34" charset="0"/>
              </a:rPr>
              <a:t>Azure</a:t>
            </a:r>
          </a:p>
        </p:txBody>
      </p:sp>
    </p:spTree>
    <p:extLst>
      <p:ext uri="{BB962C8B-B14F-4D97-AF65-F5344CB8AC3E}">
        <p14:creationId xmlns:p14="http://schemas.microsoft.com/office/powerpoint/2010/main" val="4281025761"/>
      </p:ext>
    </p:extLst>
  </p:cSld>
  <p:clrMapOvr>
    <a:masterClrMapping/>
  </p:clrMapOvr>
  <p:transition spd="slow">
    <p:push dir="u"/>
  </p:transition>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00B0F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Call to Action</a:t>
            </a:r>
          </a:p>
        </p:txBody>
      </p:sp>
      <p:sp>
        <p:nvSpPr>
          <p:cNvPr id="5" name="TextBox 4">
            <a:extLst>
              <a:ext uri="{FF2B5EF4-FFF2-40B4-BE49-F238E27FC236}">
                <a16:creationId xmlns:a16="http://schemas.microsoft.com/office/drawing/2014/main" id="{23D46FA1-22FF-48F1-B7E6-E2AE6892FDF1}"/>
              </a:ext>
            </a:extLst>
          </p:cNvPr>
          <p:cNvSpPr txBox="1"/>
          <p:nvPr/>
        </p:nvSpPr>
        <p:spPr>
          <a:xfrm>
            <a:off x="0" y="2162287"/>
            <a:ext cx="12192000" cy="3128549"/>
          </a:xfrm>
          <a:prstGeom prst="rect">
            <a:avLst/>
          </a:prstGeom>
          <a:solidFill>
            <a:srgbClr val="00B0F0"/>
          </a:solidFill>
        </p:spPr>
        <p:txBody>
          <a:bodyPr wrap="square" lIns="182880" tIns="146304" rIns="182880" bIns="146304" rtlCol="0">
            <a:spAutoFit/>
          </a:bodyPr>
          <a:lstStyle/>
          <a:p>
            <a:pPr marL="514350" lvl="0" indent="-514350" defTabSz="914367">
              <a:spcBef>
                <a:spcPts val="300"/>
              </a:spcBef>
              <a:buFont typeface="+mj-lt"/>
              <a:buAutoNum type="arabicPeriod"/>
            </a:pPr>
            <a:r>
              <a:rPr lang="en-US" sz="3200" i="1" dirty="0">
                <a:solidFill>
                  <a:srgbClr val="FFFFFF"/>
                </a:solidFill>
              </a:rPr>
              <a:t>Assess your current IT environment and determine the desired solution outcomes</a:t>
            </a:r>
          </a:p>
          <a:p>
            <a:pPr marL="514350" lvl="0" indent="-514350" defTabSz="914367">
              <a:buFont typeface="+mj-lt"/>
              <a:buAutoNum type="arabicPeriod"/>
            </a:pPr>
            <a:r>
              <a:rPr lang="en-US" sz="3200" i="1" dirty="0">
                <a:solidFill>
                  <a:srgbClr val="FFFFFF"/>
                </a:solidFill>
              </a:rPr>
              <a:t>Design, develop, and deploy a predictive model to identify at-risk students</a:t>
            </a:r>
          </a:p>
          <a:p>
            <a:pPr marL="514350" lvl="0" indent="-514350" defTabSz="914367">
              <a:spcAft>
                <a:spcPts val="300"/>
              </a:spcAft>
              <a:buFont typeface="+mj-lt"/>
              <a:buAutoNum type="arabicPeriod"/>
            </a:pPr>
            <a:r>
              <a:rPr lang="en-US" sz="3200" i="1" dirty="0">
                <a:solidFill>
                  <a:srgbClr val="FFFFFF"/>
                </a:solidFill>
              </a:rPr>
              <a:t>Visualize predictive outcome with rich reports and dashboards</a:t>
            </a:r>
            <a:endParaRPr lang="en-US" sz="3200" i="1" dirty="0">
              <a:solidFill>
                <a:srgbClr val="FFFFFF"/>
              </a:solidFill>
              <a:latin typeface="Segoe UI" panose="020B0502040204020203" pitchFamily="34" charset="0"/>
              <a:ea typeface="Times New Roman" panose="02020603050405020304" pitchFamily="18" charset="0"/>
              <a:cs typeface="Times New Roman" panose="02020603050405020304" pitchFamily="18" charset="0"/>
            </a:endParaRPr>
          </a:p>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247939224"/>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00B0F0"/>
        </a:solidFill>
        <a:effectLst/>
      </p:bgPr>
    </p:bg>
    <p:spTree>
      <p:nvGrpSpPr>
        <p:cNvPr id="1" name=""/>
        <p:cNvGrpSpPr/>
        <p:nvPr/>
      </p:nvGrpSpPr>
      <p:grpSpPr>
        <a:xfrm>
          <a:off x="0" y="0"/>
          <a:ext cx="0" cy="0"/>
          <a:chOff x="0" y="0"/>
          <a:chExt cx="0" cy="0"/>
        </a:xfrm>
      </p:grpSpPr>
      <p:sp>
        <p:nvSpPr>
          <p:cNvPr id="2" name="Rectangle 1"/>
          <p:cNvSpPr/>
          <p:nvPr/>
        </p:nvSpPr>
        <p:spPr bwMode="auto">
          <a:xfrm>
            <a:off x="1" y="487"/>
            <a:ext cx="12192000" cy="6999009"/>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p:cNvPicPr>
            <a:picLocks noChangeAspect="1"/>
          </p:cNvPicPr>
          <p:nvPr/>
        </p:nvPicPr>
        <p:blipFill>
          <a:blip r:embed="rId3"/>
          <a:stretch>
            <a:fillRect/>
          </a:stretch>
        </p:blipFill>
        <p:spPr>
          <a:xfrm>
            <a:off x="4885504" y="3242134"/>
            <a:ext cx="2420993" cy="515715"/>
          </a:xfrm>
          <a:prstGeom prst="rect">
            <a:avLst/>
          </a:prstGeom>
        </p:spPr>
      </p:pic>
    </p:spTree>
    <p:extLst>
      <p:ext uri="{BB962C8B-B14F-4D97-AF65-F5344CB8AC3E}">
        <p14:creationId xmlns:p14="http://schemas.microsoft.com/office/powerpoint/2010/main" val="2631849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00B0F0"/>
        </a:solidFill>
        <a:effectLst/>
      </p:bgPr>
    </p:bg>
    <p:spTree>
      <p:nvGrpSpPr>
        <p:cNvPr id="1" name=""/>
        <p:cNvGrpSpPr/>
        <p:nvPr/>
      </p:nvGrpSpPr>
      <p:grpSpPr>
        <a:xfrm>
          <a:off x="0" y="0"/>
          <a:ext cx="0" cy="0"/>
          <a:chOff x="0" y="0"/>
          <a:chExt cx="0" cy="0"/>
        </a:xfrm>
      </p:grpSpPr>
      <p:sp>
        <p:nvSpPr>
          <p:cNvPr id="4" name="Text Placeholder 4"/>
          <p:cNvSpPr txBox="1">
            <a:spLocks/>
          </p:cNvSpPr>
          <p:nvPr/>
        </p:nvSpPr>
        <p:spPr>
          <a:xfrm>
            <a:off x="2305433" y="3439961"/>
            <a:ext cx="8779911" cy="1785453"/>
          </a:xfrm>
          <a:prstGeom prst="rect">
            <a:avLst/>
          </a:prstGeom>
        </p:spPr>
        <p:txBody>
          <a:bodyPr/>
          <a:lstStyle>
            <a:lvl1pPr marL="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400" b="0" i="0" kern="1200" spc="0" baseline="0">
                <a:solidFill>
                  <a:schemeClr val="tx1"/>
                </a:solidFill>
                <a:latin typeface="+mn-lt"/>
                <a:ea typeface="+mn-ea"/>
                <a:cs typeface="+mn-cs"/>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800" b="0" i="0" kern="1200" spc="0" baseline="0">
                <a:solidFill>
                  <a:schemeClr val="tx1"/>
                </a:solidFill>
                <a:latin typeface="+mn-lt"/>
                <a:ea typeface="+mn-ea"/>
                <a:cs typeface="+mn-cs"/>
              </a:defRPr>
            </a:lvl2pPr>
            <a:lvl3pPr marL="4572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600" b="0" i="0" kern="1200" spc="0" baseline="0">
                <a:solidFill>
                  <a:schemeClr val="tx1"/>
                </a:solidFill>
                <a:latin typeface="+mn-lt"/>
                <a:ea typeface="+mn-ea"/>
                <a:cs typeface="+mn-cs"/>
              </a:defRPr>
            </a:lvl3pPr>
            <a:lvl4pPr marL="6858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600" b="0" i="0" kern="1200" spc="0" baseline="0">
                <a:solidFill>
                  <a:schemeClr val="tx1"/>
                </a:solidFill>
                <a:latin typeface="+mn-lt"/>
                <a:ea typeface="+mn-ea"/>
                <a:cs typeface="+mn-cs"/>
              </a:defRPr>
            </a:lvl4pPr>
            <a:lvl5pPr marL="9144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600" b="0" i="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367"/>
            <a:r>
              <a:rPr lang="en-US" sz="2745" i="1" spc="-150" dirty="0">
                <a:solidFill>
                  <a:schemeClr val="bg1"/>
                </a:solidFill>
                <a:latin typeface="Segoe UI Light"/>
              </a:rPr>
              <a:t>Founded on the principle that people can do remarkable things when technology is within reach, our mission at Microsoft is to empower every student on the planet to achieve more</a:t>
            </a:r>
            <a:r>
              <a:rPr lang="en-US" sz="2745" spc="-150" dirty="0">
                <a:solidFill>
                  <a:srgbClr val="FFFFFF"/>
                </a:solidFill>
                <a:latin typeface="Segoe UI Light"/>
              </a:rPr>
              <a:t>.</a:t>
            </a:r>
          </a:p>
        </p:txBody>
      </p:sp>
      <p:grpSp>
        <p:nvGrpSpPr>
          <p:cNvPr id="3" name="Group 2">
            <a:extLst>
              <a:ext uri="{FF2B5EF4-FFF2-40B4-BE49-F238E27FC236}">
                <a16:creationId xmlns:a16="http://schemas.microsoft.com/office/drawing/2014/main" id="{E5EBAD09-1DC5-4587-81FA-10A2FB159C38}"/>
              </a:ext>
            </a:extLst>
          </p:cNvPr>
          <p:cNvGrpSpPr/>
          <p:nvPr/>
        </p:nvGrpSpPr>
        <p:grpSpPr>
          <a:xfrm>
            <a:off x="5660364" y="2177891"/>
            <a:ext cx="1035024" cy="1020342"/>
            <a:chOff x="6900863" y="5819775"/>
            <a:chExt cx="671513" cy="661988"/>
          </a:xfrm>
        </p:grpSpPr>
        <p:sp>
          <p:nvSpPr>
            <p:cNvPr id="5" name="Freeform 9">
              <a:extLst>
                <a:ext uri="{FF2B5EF4-FFF2-40B4-BE49-F238E27FC236}">
                  <a16:creationId xmlns:a16="http://schemas.microsoft.com/office/drawing/2014/main" id="{C7D4C356-F74F-46D0-84AD-E06730040900}"/>
                </a:ext>
              </a:extLst>
            </p:cNvPr>
            <p:cNvSpPr>
              <a:spLocks/>
            </p:cNvSpPr>
            <p:nvPr/>
          </p:nvSpPr>
          <p:spPr bwMode="auto">
            <a:xfrm>
              <a:off x="6900863" y="5862638"/>
              <a:ext cx="212725" cy="425450"/>
            </a:xfrm>
            <a:custGeom>
              <a:avLst/>
              <a:gdLst>
                <a:gd name="T0" fmla="*/ 43 w 134"/>
                <a:gd name="T1" fmla="*/ 268 h 268"/>
                <a:gd name="T2" fmla="*/ 0 w 134"/>
                <a:gd name="T3" fmla="*/ 268 h 268"/>
                <a:gd name="T4" fmla="*/ 0 w 134"/>
                <a:gd name="T5" fmla="*/ 0 h 268"/>
                <a:gd name="T6" fmla="*/ 134 w 134"/>
                <a:gd name="T7" fmla="*/ 0 h 268"/>
                <a:gd name="T8" fmla="*/ 134 w 134"/>
                <a:gd name="T9" fmla="*/ 134 h 268"/>
              </a:gdLst>
              <a:ahLst/>
              <a:cxnLst>
                <a:cxn ang="0">
                  <a:pos x="T0" y="T1"/>
                </a:cxn>
                <a:cxn ang="0">
                  <a:pos x="T2" y="T3"/>
                </a:cxn>
                <a:cxn ang="0">
                  <a:pos x="T4" y="T5"/>
                </a:cxn>
                <a:cxn ang="0">
                  <a:pos x="T6" y="T7"/>
                </a:cxn>
                <a:cxn ang="0">
                  <a:pos x="T8" y="T9"/>
                </a:cxn>
              </a:cxnLst>
              <a:rect l="0" t="0" r="r" b="b"/>
              <a:pathLst>
                <a:path w="134" h="268">
                  <a:moveTo>
                    <a:pt x="43" y="268"/>
                  </a:moveTo>
                  <a:lnTo>
                    <a:pt x="0" y="268"/>
                  </a:lnTo>
                  <a:lnTo>
                    <a:pt x="0" y="0"/>
                  </a:lnTo>
                  <a:lnTo>
                    <a:pt x="134" y="0"/>
                  </a:lnTo>
                  <a:lnTo>
                    <a:pt x="134" y="134"/>
                  </a:lnTo>
                </a:path>
              </a:pathLst>
            </a:custGeom>
            <a:noFill/>
            <a:ln w="254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Rectangle 10">
              <a:extLst>
                <a:ext uri="{FF2B5EF4-FFF2-40B4-BE49-F238E27FC236}">
                  <a16:creationId xmlns:a16="http://schemas.microsoft.com/office/drawing/2014/main" id="{3A62C63E-E7A3-4861-93D9-8FB3E72784EB}"/>
                </a:ext>
              </a:extLst>
            </p:cNvPr>
            <p:cNvSpPr>
              <a:spLocks noChangeArrowheads="1"/>
            </p:cNvSpPr>
            <p:nvPr/>
          </p:nvSpPr>
          <p:spPr bwMode="auto">
            <a:xfrm>
              <a:off x="6942138" y="6105525"/>
              <a:ext cx="34925" cy="34925"/>
            </a:xfrm>
            <a:prstGeom prst="rect">
              <a:avLst/>
            </a:prstGeom>
            <a:noFill/>
            <a:ln w="254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 name="Rectangle 11">
              <a:extLst>
                <a:ext uri="{FF2B5EF4-FFF2-40B4-BE49-F238E27FC236}">
                  <a16:creationId xmlns:a16="http://schemas.microsoft.com/office/drawing/2014/main" id="{A43A6255-E029-400A-B97E-FE8A0E174FEF}"/>
                </a:ext>
              </a:extLst>
            </p:cNvPr>
            <p:cNvSpPr>
              <a:spLocks noChangeArrowheads="1"/>
            </p:cNvSpPr>
            <p:nvPr/>
          </p:nvSpPr>
          <p:spPr bwMode="auto">
            <a:xfrm>
              <a:off x="6942138" y="6018213"/>
              <a:ext cx="34925" cy="30162"/>
            </a:xfrm>
            <a:prstGeom prst="rect">
              <a:avLst/>
            </a:prstGeom>
            <a:noFill/>
            <a:ln w="254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 name="Rectangle 12">
              <a:extLst>
                <a:ext uri="{FF2B5EF4-FFF2-40B4-BE49-F238E27FC236}">
                  <a16:creationId xmlns:a16="http://schemas.microsoft.com/office/drawing/2014/main" id="{FE7A65A4-DAC9-4D6B-98C4-6624D464EA2E}"/>
                </a:ext>
              </a:extLst>
            </p:cNvPr>
            <p:cNvSpPr>
              <a:spLocks noChangeArrowheads="1"/>
            </p:cNvSpPr>
            <p:nvPr/>
          </p:nvSpPr>
          <p:spPr bwMode="auto">
            <a:xfrm>
              <a:off x="7037388" y="6018213"/>
              <a:ext cx="34925" cy="30162"/>
            </a:xfrm>
            <a:prstGeom prst="rect">
              <a:avLst/>
            </a:prstGeom>
            <a:noFill/>
            <a:ln w="254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Rectangle 13">
              <a:extLst>
                <a:ext uri="{FF2B5EF4-FFF2-40B4-BE49-F238E27FC236}">
                  <a16:creationId xmlns:a16="http://schemas.microsoft.com/office/drawing/2014/main" id="{A4525A52-F52B-4CDE-8B8E-95E77409C813}"/>
                </a:ext>
              </a:extLst>
            </p:cNvPr>
            <p:cNvSpPr>
              <a:spLocks noChangeArrowheads="1"/>
            </p:cNvSpPr>
            <p:nvPr/>
          </p:nvSpPr>
          <p:spPr bwMode="auto">
            <a:xfrm>
              <a:off x="6942138" y="5930900"/>
              <a:ext cx="34925" cy="33337"/>
            </a:xfrm>
            <a:prstGeom prst="rect">
              <a:avLst/>
            </a:prstGeom>
            <a:noFill/>
            <a:ln w="254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Rectangle 14">
              <a:extLst>
                <a:ext uri="{FF2B5EF4-FFF2-40B4-BE49-F238E27FC236}">
                  <a16:creationId xmlns:a16="http://schemas.microsoft.com/office/drawing/2014/main" id="{97DC9DFC-DB96-4134-8597-85C1671C8CB9}"/>
                </a:ext>
              </a:extLst>
            </p:cNvPr>
            <p:cNvSpPr>
              <a:spLocks noChangeArrowheads="1"/>
            </p:cNvSpPr>
            <p:nvPr/>
          </p:nvSpPr>
          <p:spPr bwMode="auto">
            <a:xfrm>
              <a:off x="7037388" y="5930900"/>
              <a:ext cx="34925" cy="33337"/>
            </a:xfrm>
            <a:prstGeom prst="rect">
              <a:avLst/>
            </a:prstGeom>
            <a:noFill/>
            <a:ln w="254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Rectangle 15">
              <a:extLst>
                <a:ext uri="{FF2B5EF4-FFF2-40B4-BE49-F238E27FC236}">
                  <a16:creationId xmlns:a16="http://schemas.microsoft.com/office/drawing/2014/main" id="{9BF94589-1B51-43D1-9823-27C7B825F310}"/>
                </a:ext>
              </a:extLst>
            </p:cNvPr>
            <p:cNvSpPr>
              <a:spLocks noChangeArrowheads="1"/>
            </p:cNvSpPr>
            <p:nvPr/>
          </p:nvSpPr>
          <p:spPr bwMode="auto">
            <a:xfrm>
              <a:off x="6931026" y="5819775"/>
              <a:ext cx="57150" cy="42862"/>
            </a:xfrm>
            <a:prstGeom prst="rect">
              <a:avLst/>
            </a:prstGeom>
            <a:noFill/>
            <a:ln w="254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Freeform 16">
              <a:extLst>
                <a:ext uri="{FF2B5EF4-FFF2-40B4-BE49-F238E27FC236}">
                  <a16:creationId xmlns:a16="http://schemas.microsoft.com/office/drawing/2014/main" id="{1F91A974-4A21-4F72-9264-8D7D52F6B4D9}"/>
                </a:ext>
              </a:extLst>
            </p:cNvPr>
            <p:cNvSpPr>
              <a:spLocks/>
            </p:cNvSpPr>
            <p:nvPr/>
          </p:nvSpPr>
          <p:spPr bwMode="auto">
            <a:xfrm>
              <a:off x="6999288" y="6075363"/>
              <a:ext cx="355600" cy="406400"/>
            </a:xfrm>
            <a:custGeom>
              <a:avLst/>
              <a:gdLst>
                <a:gd name="T0" fmla="*/ 0 w 224"/>
                <a:gd name="T1" fmla="*/ 65 h 256"/>
                <a:gd name="T2" fmla="*/ 111 w 224"/>
                <a:gd name="T3" fmla="*/ 0 h 256"/>
                <a:gd name="T4" fmla="*/ 224 w 224"/>
                <a:gd name="T5" fmla="*/ 65 h 256"/>
                <a:gd name="T6" fmla="*/ 224 w 224"/>
                <a:gd name="T7" fmla="*/ 192 h 256"/>
                <a:gd name="T8" fmla="*/ 111 w 224"/>
                <a:gd name="T9" fmla="*/ 256 h 256"/>
                <a:gd name="T10" fmla="*/ 0 w 224"/>
                <a:gd name="T11" fmla="*/ 192 h 256"/>
                <a:gd name="T12" fmla="*/ 0 w 224"/>
                <a:gd name="T13" fmla="*/ 65 h 256"/>
              </a:gdLst>
              <a:ahLst/>
              <a:cxnLst>
                <a:cxn ang="0">
                  <a:pos x="T0" y="T1"/>
                </a:cxn>
                <a:cxn ang="0">
                  <a:pos x="T2" y="T3"/>
                </a:cxn>
                <a:cxn ang="0">
                  <a:pos x="T4" y="T5"/>
                </a:cxn>
                <a:cxn ang="0">
                  <a:pos x="T6" y="T7"/>
                </a:cxn>
                <a:cxn ang="0">
                  <a:pos x="T8" y="T9"/>
                </a:cxn>
                <a:cxn ang="0">
                  <a:pos x="T10" y="T11"/>
                </a:cxn>
                <a:cxn ang="0">
                  <a:pos x="T12" y="T13"/>
                </a:cxn>
              </a:cxnLst>
              <a:rect l="0" t="0" r="r" b="b"/>
              <a:pathLst>
                <a:path w="224" h="256">
                  <a:moveTo>
                    <a:pt x="0" y="65"/>
                  </a:moveTo>
                  <a:lnTo>
                    <a:pt x="111" y="0"/>
                  </a:lnTo>
                  <a:lnTo>
                    <a:pt x="224" y="65"/>
                  </a:lnTo>
                  <a:lnTo>
                    <a:pt x="224" y="192"/>
                  </a:lnTo>
                  <a:lnTo>
                    <a:pt x="111" y="256"/>
                  </a:lnTo>
                  <a:lnTo>
                    <a:pt x="0" y="192"/>
                  </a:lnTo>
                  <a:lnTo>
                    <a:pt x="0" y="65"/>
                  </a:lnTo>
                  <a:close/>
                </a:path>
              </a:pathLst>
            </a:custGeom>
            <a:noFill/>
            <a:ln w="254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Freeform 17">
              <a:extLst>
                <a:ext uri="{FF2B5EF4-FFF2-40B4-BE49-F238E27FC236}">
                  <a16:creationId xmlns:a16="http://schemas.microsoft.com/office/drawing/2014/main" id="{029D3D6A-4CDB-4E3A-9CA5-7A366DAB25F1}"/>
                </a:ext>
              </a:extLst>
            </p:cNvPr>
            <p:cNvSpPr>
              <a:spLocks/>
            </p:cNvSpPr>
            <p:nvPr/>
          </p:nvSpPr>
          <p:spPr bwMode="auto">
            <a:xfrm>
              <a:off x="6999288" y="6178550"/>
              <a:ext cx="355600" cy="101600"/>
            </a:xfrm>
            <a:custGeom>
              <a:avLst/>
              <a:gdLst>
                <a:gd name="T0" fmla="*/ 224 w 224"/>
                <a:gd name="T1" fmla="*/ 0 h 64"/>
                <a:gd name="T2" fmla="*/ 111 w 224"/>
                <a:gd name="T3" fmla="*/ 64 h 64"/>
                <a:gd name="T4" fmla="*/ 0 w 224"/>
                <a:gd name="T5" fmla="*/ 0 h 64"/>
              </a:gdLst>
              <a:ahLst/>
              <a:cxnLst>
                <a:cxn ang="0">
                  <a:pos x="T0" y="T1"/>
                </a:cxn>
                <a:cxn ang="0">
                  <a:pos x="T2" y="T3"/>
                </a:cxn>
                <a:cxn ang="0">
                  <a:pos x="T4" y="T5"/>
                </a:cxn>
              </a:cxnLst>
              <a:rect l="0" t="0" r="r" b="b"/>
              <a:pathLst>
                <a:path w="224" h="64">
                  <a:moveTo>
                    <a:pt x="224" y="0"/>
                  </a:moveTo>
                  <a:lnTo>
                    <a:pt x="111" y="64"/>
                  </a:lnTo>
                  <a:lnTo>
                    <a:pt x="0" y="0"/>
                  </a:lnTo>
                </a:path>
              </a:pathLst>
            </a:custGeom>
            <a:noFill/>
            <a:ln w="254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Line 18">
              <a:extLst>
                <a:ext uri="{FF2B5EF4-FFF2-40B4-BE49-F238E27FC236}">
                  <a16:creationId xmlns:a16="http://schemas.microsoft.com/office/drawing/2014/main" id="{16F4EB3D-B3F3-4DDF-BA6B-5D1A0F6DF319}"/>
                </a:ext>
              </a:extLst>
            </p:cNvPr>
            <p:cNvSpPr>
              <a:spLocks noChangeShapeType="1"/>
            </p:cNvSpPr>
            <p:nvPr/>
          </p:nvSpPr>
          <p:spPr bwMode="auto">
            <a:xfrm>
              <a:off x="7175501" y="6269038"/>
              <a:ext cx="0" cy="212725"/>
            </a:xfrm>
            <a:prstGeom prst="line">
              <a:avLst/>
            </a:prstGeom>
            <a:noFill/>
            <a:ln w="2540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Freeform 19">
              <a:extLst>
                <a:ext uri="{FF2B5EF4-FFF2-40B4-BE49-F238E27FC236}">
                  <a16:creationId xmlns:a16="http://schemas.microsoft.com/office/drawing/2014/main" id="{556255F9-0C2D-4400-9578-FAAB690EDBBB}"/>
                </a:ext>
              </a:extLst>
            </p:cNvPr>
            <p:cNvSpPr>
              <a:spLocks/>
            </p:cNvSpPr>
            <p:nvPr/>
          </p:nvSpPr>
          <p:spPr bwMode="auto">
            <a:xfrm>
              <a:off x="7216776" y="5953125"/>
              <a:ext cx="355600" cy="225425"/>
            </a:xfrm>
            <a:custGeom>
              <a:avLst/>
              <a:gdLst>
                <a:gd name="T0" fmla="*/ 0 w 93"/>
                <a:gd name="T1" fmla="*/ 29 h 59"/>
                <a:gd name="T2" fmla="*/ 10 w 93"/>
                <a:gd name="T3" fmla="*/ 24 h 59"/>
                <a:gd name="T4" fmla="*/ 35 w 93"/>
                <a:gd name="T5" fmla="*/ 0 h 59"/>
                <a:gd name="T6" fmla="*/ 58 w 93"/>
                <a:gd name="T7" fmla="*/ 15 h 59"/>
                <a:gd name="T8" fmla="*/ 69 w 93"/>
                <a:gd name="T9" fmla="*/ 12 h 59"/>
                <a:gd name="T10" fmla="*/ 93 w 93"/>
                <a:gd name="T11" fmla="*/ 35 h 59"/>
                <a:gd name="T12" fmla="*/ 69 w 93"/>
                <a:gd name="T13" fmla="*/ 59 h 59"/>
                <a:gd name="T14" fmla="*/ 69 w 93"/>
                <a:gd name="T15" fmla="*/ 59 h 59"/>
                <a:gd name="T16" fmla="*/ 45 w 93"/>
                <a:gd name="T17"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59">
                  <a:moveTo>
                    <a:pt x="0" y="29"/>
                  </a:moveTo>
                  <a:cubicBezTo>
                    <a:pt x="4" y="23"/>
                    <a:pt x="4" y="25"/>
                    <a:pt x="10" y="24"/>
                  </a:cubicBezTo>
                  <a:cubicBezTo>
                    <a:pt x="11" y="11"/>
                    <a:pt x="22" y="0"/>
                    <a:pt x="35" y="0"/>
                  </a:cubicBezTo>
                  <a:cubicBezTo>
                    <a:pt x="45" y="0"/>
                    <a:pt x="54" y="6"/>
                    <a:pt x="58" y="15"/>
                  </a:cubicBezTo>
                  <a:cubicBezTo>
                    <a:pt x="62" y="13"/>
                    <a:pt x="66" y="12"/>
                    <a:pt x="69" y="12"/>
                  </a:cubicBezTo>
                  <a:cubicBezTo>
                    <a:pt x="82" y="12"/>
                    <a:pt x="93" y="22"/>
                    <a:pt x="93" y="35"/>
                  </a:cubicBezTo>
                  <a:cubicBezTo>
                    <a:pt x="93" y="48"/>
                    <a:pt x="82" y="59"/>
                    <a:pt x="69" y="59"/>
                  </a:cubicBezTo>
                  <a:cubicBezTo>
                    <a:pt x="69" y="59"/>
                    <a:pt x="69" y="59"/>
                    <a:pt x="69" y="59"/>
                  </a:cubicBezTo>
                  <a:cubicBezTo>
                    <a:pt x="57" y="59"/>
                    <a:pt x="45" y="59"/>
                    <a:pt x="45" y="59"/>
                  </a:cubicBezTo>
                </a:path>
              </a:pathLst>
            </a:custGeom>
            <a:noFill/>
            <a:ln w="254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904121494"/>
      </p:ext>
    </p:extLst>
  </p:cSld>
  <p:clrMapOvr>
    <a:masterClrMapping/>
  </p:clrMapOvr>
  <p:transition spd="slow">
    <p:push dir="u"/>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t="21395" r="13470" b="5737"/>
          <a:stretch/>
        </p:blipFill>
        <p:spPr>
          <a:xfrm>
            <a:off x="-25143" y="487"/>
            <a:ext cx="12217144" cy="6857027"/>
          </a:xfrm>
          <a:prstGeom prst="rect">
            <a:avLst/>
          </a:prstGeom>
        </p:spPr>
      </p:pic>
      <p:sp>
        <p:nvSpPr>
          <p:cNvPr id="4" name="Title 3">
            <a:extLst>
              <a:ext uri="{FF2B5EF4-FFF2-40B4-BE49-F238E27FC236}">
                <a16:creationId xmlns:a16="http://schemas.microsoft.com/office/drawing/2014/main" id="{117C8249-C873-4173-A91D-0CF8CE755D18}"/>
              </a:ext>
            </a:extLst>
          </p:cNvPr>
          <p:cNvSpPr>
            <a:spLocks noGrp="1"/>
          </p:cNvSpPr>
          <p:nvPr>
            <p:ph type="title"/>
          </p:nvPr>
        </p:nvSpPr>
        <p:spPr>
          <a:xfrm>
            <a:off x="125866" y="1840698"/>
            <a:ext cx="11655091" cy="1731003"/>
          </a:xfrm>
          <a:noFill/>
        </p:spPr>
        <p:txBody>
          <a:bodyPr/>
          <a:lstStyle/>
          <a:p>
            <a:r>
              <a:rPr lang="en-US" sz="3921" spc="0" dirty="0">
                <a:solidFill>
                  <a:srgbClr val="001F50"/>
                </a:solidFill>
                <a:latin typeface="Segoe UI Light" charset="0"/>
                <a:ea typeface="Segoe UI Light" charset="0"/>
                <a:cs typeface="Segoe UI Light" charset="0"/>
              </a:rPr>
              <a:t>Today’s statistics should have no place in our children‘s tomorrows </a:t>
            </a:r>
          </a:p>
        </p:txBody>
      </p:sp>
      <p:grpSp>
        <p:nvGrpSpPr>
          <p:cNvPr id="14" name="Group 13">
            <a:extLst>
              <a:ext uri="{FF2B5EF4-FFF2-40B4-BE49-F238E27FC236}">
                <a16:creationId xmlns:a16="http://schemas.microsoft.com/office/drawing/2014/main" id="{CE4BD81C-D285-4670-A49B-8AF57CF322DB}"/>
              </a:ext>
            </a:extLst>
          </p:cNvPr>
          <p:cNvGrpSpPr/>
          <p:nvPr/>
        </p:nvGrpSpPr>
        <p:grpSpPr>
          <a:xfrm>
            <a:off x="241455" y="5039284"/>
            <a:ext cx="4312384" cy="1543921"/>
            <a:chOff x="607352" y="1566459"/>
            <a:chExt cx="4398856" cy="1574879"/>
          </a:xfrm>
          <a:solidFill>
            <a:srgbClr val="00B0F0"/>
          </a:solidFill>
        </p:grpSpPr>
        <p:sp>
          <p:nvSpPr>
            <p:cNvPr id="15" name="Rectangle 14">
              <a:extLst>
                <a:ext uri="{FF2B5EF4-FFF2-40B4-BE49-F238E27FC236}">
                  <a16:creationId xmlns:a16="http://schemas.microsoft.com/office/drawing/2014/main" id="{9135600E-32E4-417F-B00B-33679165EDC3}"/>
                </a:ext>
              </a:extLst>
            </p:cNvPr>
            <p:cNvSpPr/>
            <p:nvPr/>
          </p:nvSpPr>
          <p:spPr bwMode="auto">
            <a:xfrm>
              <a:off x="685799" y="1566459"/>
              <a:ext cx="4320409" cy="157487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490" fontAlgn="base">
                <a:lnSpc>
                  <a:spcPct val="90000"/>
                </a:lnSpc>
                <a:spcBef>
                  <a:spcPct val="0"/>
                </a:spcBef>
                <a:spcAft>
                  <a:spcPct val="0"/>
                </a:spcAft>
                <a:defRPr/>
              </a:pPr>
              <a:endParaRPr lang="en-US" sz="2353"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6" name="Group 15">
              <a:extLst>
                <a:ext uri="{FF2B5EF4-FFF2-40B4-BE49-F238E27FC236}">
                  <a16:creationId xmlns:a16="http://schemas.microsoft.com/office/drawing/2014/main" id="{922F9BC5-2A9C-40A8-867A-1CC30B831450}"/>
                </a:ext>
              </a:extLst>
            </p:cNvPr>
            <p:cNvGrpSpPr/>
            <p:nvPr/>
          </p:nvGrpSpPr>
          <p:grpSpPr>
            <a:xfrm>
              <a:off x="607352" y="1673308"/>
              <a:ext cx="4398856" cy="1423791"/>
              <a:chOff x="-764595" y="4513591"/>
              <a:chExt cx="4488240" cy="1452718"/>
            </a:xfrm>
            <a:grpFill/>
          </p:grpSpPr>
          <p:sp>
            <p:nvSpPr>
              <p:cNvPr id="17" name="TextBox 16">
                <a:extLst>
                  <a:ext uri="{FF2B5EF4-FFF2-40B4-BE49-F238E27FC236}">
                    <a16:creationId xmlns:a16="http://schemas.microsoft.com/office/drawing/2014/main" id="{D7FA4693-E302-4BF4-87AF-0E165402165E}"/>
                  </a:ext>
                </a:extLst>
              </p:cNvPr>
              <p:cNvSpPr txBox="1"/>
              <p:nvPr/>
            </p:nvSpPr>
            <p:spPr>
              <a:xfrm>
                <a:off x="-674307" y="4513591"/>
                <a:ext cx="4397952" cy="860718"/>
              </a:xfrm>
              <a:prstGeom prst="rect">
                <a:avLst/>
              </a:prstGeom>
              <a:grpFill/>
            </p:spPr>
            <p:txBody>
              <a:bodyPr wrap="square" lIns="175715" tIns="140572" rIns="175715" bIns="140572" rtlCol="0">
                <a:spAutoFit/>
              </a:bodyPr>
              <a:lstStyle/>
              <a:p>
                <a:pPr algn="ctr" defTabSz="894955">
                  <a:lnSpc>
                    <a:spcPct val="90000"/>
                  </a:lnSpc>
                  <a:defRPr/>
                </a:pPr>
                <a:r>
                  <a:rPr lang="en-US" sz="3921" b="1" dirty="0">
                    <a:gradFill>
                      <a:gsLst>
                        <a:gs pos="13274">
                          <a:srgbClr val="FFFFFF"/>
                        </a:gs>
                        <a:gs pos="36000">
                          <a:srgbClr val="FFFFFF"/>
                        </a:gs>
                      </a:gsLst>
                      <a:lin ang="5400000" scaled="0"/>
                    </a:gradFill>
                    <a:latin typeface="Segoe UI Semibold" charset="0"/>
                    <a:ea typeface="Segoe UI Semibold" charset="0"/>
                    <a:cs typeface="Segoe UI Semibold" charset="0"/>
                  </a:rPr>
                  <a:t>40%</a:t>
                </a:r>
              </a:p>
            </p:txBody>
          </p:sp>
          <p:sp>
            <p:nvSpPr>
              <p:cNvPr id="18" name="TextBox 17">
                <a:extLst>
                  <a:ext uri="{FF2B5EF4-FFF2-40B4-BE49-F238E27FC236}">
                    <a16:creationId xmlns:a16="http://schemas.microsoft.com/office/drawing/2014/main" id="{F1C4E8B7-6F9F-4B77-AA3B-4C1D5DC0EE4F}"/>
                  </a:ext>
                </a:extLst>
              </p:cNvPr>
              <p:cNvSpPr txBox="1"/>
              <p:nvPr/>
            </p:nvSpPr>
            <p:spPr>
              <a:xfrm>
                <a:off x="-764595" y="5105591"/>
                <a:ext cx="4382634" cy="860718"/>
              </a:xfrm>
              <a:prstGeom prst="rect">
                <a:avLst/>
              </a:prstGeom>
              <a:grpFill/>
            </p:spPr>
            <p:txBody>
              <a:bodyPr wrap="square" lIns="175715" tIns="140572" rIns="0" bIns="140572" rtlCol="0" anchor="ctr">
                <a:spAutoFit/>
              </a:bodyPr>
              <a:lstStyle/>
              <a:p>
                <a:pPr algn="ctr" defTabSz="894955">
                  <a:defRPr/>
                </a:pPr>
                <a:r>
                  <a:rPr lang="en-US" sz="1765" dirty="0">
                    <a:gradFill>
                      <a:gsLst>
                        <a:gs pos="7080">
                          <a:srgbClr val="FFFFFF">
                            <a:lumMod val="95000"/>
                          </a:srgbClr>
                        </a:gs>
                        <a:gs pos="100000">
                          <a:srgbClr val="FFFFFF">
                            <a:lumMod val="95000"/>
                          </a:srgbClr>
                        </a:gs>
                      </a:gsLst>
                      <a:lin ang="5400000" scaled="0"/>
                    </a:gradFill>
                    <a:latin typeface="Segoe UI" charset="0"/>
                    <a:ea typeface="Segoe UI" charset="0"/>
                    <a:cs typeface="Segoe UI" charset="0"/>
                  </a:rPr>
                  <a:t>of students fail</a:t>
                </a:r>
                <a:br>
                  <a:rPr lang="en-US" sz="1765" dirty="0">
                    <a:gradFill>
                      <a:gsLst>
                        <a:gs pos="7080">
                          <a:srgbClr val="FFFFFF">
                            <a:lumMod val="95000"/>
                          </a:srgbClr>
                        </a:gs>
                        <a:gs pos="100000">
                          <a:srgbClr val="FFFFFF">
                            <a:lumMod val="95000"/>
                          </a:srgbClr>
                        </a:gs>
                      </a:gsLst>
                      <a:lin ang="5400000" scaled="0"/>
                    </a:gradFill>
                    <a:latin typeface="Segoe UI" charset="0"/>
                    <a:ea typeface="Segoe UI" charset="0"/>
                    <a:cs typeface="Segoe UI" charset="0"/>
                  </a:rPr>
                </a:br>
                <a:r>
                  <a:rPr lang="en-US" sz="1765" dirty="0">
                    <a:gradFill>
                      <a:gsLst>
                        <a:gs pos="7080">
                          <a:srgbClr val="FFFFFF">
                            <a:lumMod val="95000"/>
                          </a:srgbClr>
                        </a:gs>
                        <a:gs pos="100000">
                          <a:srgbClr val="FFFFFF">
                            <a:lumMod val="95000"/>
                          </a:srgbClr>
                        </a:gs>
                      </a:gsLst>
                      <a:lin ang="5400000" scaled="0"/>
                    </a:gradFill>
                    <a:latin typeface="Segoe UI" charset="0"/>
                    <a:ea typeface="Segoe UI" charset="0"/>
                    <a:cs typeface="Segoe UI" charset="0"/>
                  </a:rPr>
                  <a:t>to graduate on time</a:t>
                </a:r>
              </a:p>
            </p:txBody>
          </p:sp>
        </p:grpSp>
      </p:grpSp>
      <p:grpSp>
        <p:nvGrpSpPr>
          <p:cNvPr id="29" name="Group 28">
            <a:extLst>
              <a:ext uri="{FF2B5EF4-FFF2-40B4-BE49-F238E27FC236}">
                <a16:creationId xmlns:a16="http://schemas.microsoft.com/office/drawing/2014/main" id="{CE4BD81C-D285-4670-A49B-8AF57CF322DB}"/>
              </a:ext>
            </a:extLst>
          </p:cNvPr>
          <p:cNvGrpSpPr/>
          <p:nvPr/>
        </p:nvGrpSpPr>
        <p:grpSpPr>
          <a:xfrm>
            <a:off x="4949752" y="5002614"/>
            <a:ext cx="4235479" cy="1543923"/>
            <a:chOff x="685799" y="1566457"/>
            <a:chExt cx="4320409" cy="1574881"/>
          </a:xfrm>
          <a:solidFill>
            <a:srgbClr val="00B0F0"/>
          </a:solidFill>
        </p:grpSpPr>
        <p:sp>
          <p:nvSpPr>
            <p:cNvPr id="30" name="Rectangle 29">
              <a:extLst>
                <a:ext uri="{FF2B5EF4-FFF2-40B4-BE49-F238E27FC236}">
                  <a16:creationId xmlns:a16="http://schemas.microsoft.com/office/drawing/2014/main" id="{9135600E-32E4-417F-B00B-33679165EDC3}"/>
                </a:ext>
              </a:extLst>
            </p:cNvPr>
            <p:cNvSpPr/>
            <p:nvPr/>
          </p:nvSpPr>
          <p:spPr bwMode="auto">
            <a:xfrm>
              <a:off x="685799" y="1566457"/>
              <a:ext cx="4320409" cy="157488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490" fontAlgn="base">
                <a:lnSpc>
                  <a:spcPct val="90000"/>
                </a:lnSpc>
                <a:spcBef>
                  <a:spcPct val="0"/>
                </a:spcBef>
                <a:spcAft>
                  <a:spcPct val="0"/>
                </a:spcAft>
                <a:defRPr/>
              </a:pPr>
              <a:endParaRPr lang="en-US" sz="2353"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31" name="Group 30">
              <a:extLst>
                <a:ext uri="{FF2B5EF4-FFF2-40B4-BE49-F238E27FC236}">
                  <a16:creationId xmlns:a16="http://schemas.microsoft.com/office/drawing/2014/main" id="{922F9BC5-2A9C-40A8-867A-1CC30B831450}"/>
                </a:ext>
              </a:extLst>
            </p:cNvPr>
            <p:cNvGrpSpPr/>
            <p:nvPr/>
          </p:nvGrpSpPr>
          <p:grpSpPr>
            <a:xfrm>
              <a:off x="695840" y="1673308"/>
              <a:ext cx="4310368" cy="1423790"/>
              <a:chOff x="-674307" y="4513591"/>
              <a:chExt cx="4397952" cy="1452717"/>
            </a:xfrm>
            <a:grpFill/>
          </p:grpSpPr>
          <p:sp>
            <p:nvSpPr>
              <p:cNvPr id="32" name="TextBox 31">
                <a:extLst>
                  <a:ext uri="{FF2B5EF4-FFF2-40B4-BE49-F238E27FC236}">
                    <a16:creationId xmlns:a16="http://schemas.microsoft.com/office/drawing/2014/main" id="{D7FA4693-E302-4BF4-87AF-0E165402165E}"/>
                  </a:ext>
                </a:extLst>
              </p:cNvPr>
              <p:cNvSpPr txBox="1"/>
              <p:nvPr/>
            </p:nvSpPr>
            <p:spPr>
              <a:xfrm>
                <a:off x="-674307" y="4513591"/>
                <a:ext cx="4397952" cy="860718"/>
              </a:xfrm>
              <a:prstGeom prst="rect">
                <a:avLst/>
              </a:prstGeom>
              <a:grpFill/>
            </p:spPr>
            <p:txBody>
              <a:bodyPr wrap="square" lIns="175715" tIns="140572" rIns="175715" bIns="140572" rtlCol="0">
                <a:spAutoFit/>
              </a:bodyPr>
              <a:lstStyle/>
              <a:p>
                <a:pPr algn="ctr" defTabSz="894955">
                  <a:lnSpc>
                    <a:spcPct val="90000"/>
                  </a:lnSpc>
                  <a:defRPr/>
                </a:pPr>
                <a:r>
                  <a:rPr lang="en-US" sz="3921" b="1" dirty="0">
                    <a:gradFill>
                      <a:gsLst>
                        <a:gs pos="13274">
                          <a:srgbClr val="FFFFFF"/>
                        </a:gs>
                        <a:gs pos="36000">
                          <a:srgbClr val="FFFFFF"/>
                        </a:gs>
                      </a:gsLst>
                      <a:lin ang="5400000" scaled="0"/>
                    </a:gradFill>
                    <a:latin typeface="Segoe UI Semibold" charset="0"/>
                    <a:ea typeface="Segoe UI Semibold" charset="0"/>
                    <a:cs typeface="Segoe UI Semibold" charset="0"/>
                  </a:rPr>
                  <a:t>75%</a:t>
                </a:r>
              </a:p>
            </p:txBody>
          </p:sp>
          <p:sp>
            <p:nvSpPr>
              <p:cNvPr id="33" name="TextBox 32">
                <a:extLst>
                  <a:ext uri="{FF2B5EF4-FFF2-40B4-BE49-F238E27FC236}">
                    <a16:creationId xmlns:a16="http://schemas.microsoft.com/office/drawing/2014/main" id="{F1C4E8B7-6F9F-4B77-AA3B-4C1D5DC0EE4F}"/>
                  </a:ext>
                </a:extLst>
              </p:cNvPr>
              <p:cNvSpPr txBox="1"/>
              <p:nvPr/>
            </p:nvSpPr>
            <p:spPr>
              <a:xfrm>
                <a:off x="-674307" y="5105590"/>
                <a:ext cx="4382634" cy="860718"/>
              </a:xfrm>
              <a:prstGeom prst="rect">
                <a:avLst/>
              </a:prstGeom>
              <a:grpFill/>
            </p:spPr>
            <p:txBody>
              <a:bodyPr wrap="square" lIns="175715" tIns="140572" rIns="0" bIns="140572" rtlCol="0" anchor="ctr">
                <a:spAutoFit/>
              </a:bodyPr>
              <a:lstStyle/>
              <a:p>
                <a:pPr algn="ctr" defTabSz="894955">
                  <a:defRPr/>
                </a:pPr>
                <a:r>
                  <a:rPr lang="en-US" sz="1765" dirty="0">
                    <a:gradFill>
                      <a:gsLst>
                        <a:gs pos="7080">
                          <a:srgbClr val="FFFFFF">
                            <a:lumMod val="95000"/>
                          </a:srgbClr>
                        </a:gs>
                        <a:gs pos="100000">
                          <a:srgbClr val="FFFFFF">
                            <a:lumMod val="95000"/>
                          </a:srgbClr>
                        </a:gs>
                      </a:gsLst>
                      <a:lin ang="5400000" scaled="0"/>
                    </a:gradFill>
                    <a:latin typeface="Segoe UI" charset="0"/>
                    <a:ea typeface="Segoe UI" charset="0"/>
                    <a:cs typeface="Segoe UI" charset="0"/>
                  </a:rPr>
                  <a:t>of crimes in the US</a:t>
                </a:r>
              </a:p>
              <a:p>
                <a:pPr algn="ctr" defTabSz="894955">
                  <a:defRPr/>
                </a:pPr>
                <a:r>
                  <a:rPr lang="en-US" sz="1765" dirty="0">
                    <a:gradFill>
                      <a:gsLst>
                        <a:gs pos="7080">
                          <a:srgbClr val="FFFFFF">
                            <a:lumMod val="95000"/>
                          </a:srgbClr>
                        </a:gs>
                        <a:gs pos="100000">
                          <a:srgbClr val="FFFFFF">
                            <a:lumMod val="95000"/>
                          </a:srgbClr>
                        </a:gs>
                      </a:gsLst>
                      <a:lin ang="5400000" scaled="0"/>
                    </a:gradFill>
                    <a:latin typeface="Segoe UI" charset="0"/>
                    <a:ea typeface="Segoe UI" charset="0"/>
                    <a:cs typeface="Segoe UI" charset="0"/>
                  </a:rPr>
                  <a:t>committed by dropouts</a:t>
                </a:r>
              </a:p>
            </p:txBody>
          </p:sp>
        </p:grpSp>
      </p:grpSp>
      <p:grpSp>
        <p:nvGrpSpPr>
          <p:cNvPr id="34" name="Group 33">
            <a:extLst>
              <a:ext uri="{FF2B5EF4-FFF2-40B4-BE49-F238E27FC236}">
                <a16:creationId xmlns:a16="http://schemas.microsoft.com/office/drawing/2014/main" id="{CE4BD81C-D285-4670-A49B-8AF57CF322DB}"/>
              </a:ext>
            </a:extLst>
          </p:cNvPr>
          <p:cNvGrpSpPr/>
          <p:nvPr/>
        </p:nvGrpSpPr>
        <p:grpSpPr>
          <a:xfrm>
            <a:off x="4959596" y="3224061"/>
            <a:ext cx="4235479" cy="1540914"/>
            <a:chOff x="685799" y="1569526"/>
            <a:chExt cx="4320409" cy="1571812"/>
          </a:xfrm>
          <a:solidFill>
            <a:srgbClr val="00B0F0"/>
          </a:solidFill>
        </p:grpSpPr>
        <p:sp>
          <p:nvSpPr>
            <p:cNvPr id="35" name="Rectangle 34">
              <a:extLst>
                <a:ext uri="{FF2B5EF4-FFF2-40B4-BE49-F238E27FC236}">
                  <a16:creationId xmlns:a16="http://schemas.microsoft.com/office/drawing/2014/main" id="{9135600E-32E4-417F-B00B-33679165EDC3}"/>
                </a:ext>
              </a:extLst>
            </p:cNvPr>
            <p:cNvSpPr/>
            <p:nvPr/>
          </p:nvSpPr>
          <p:spPr bwMode="auto">
            <a:xfrm>
              <a:off x="685799" y="1569526"/>
              <a:ext cx="4320409" cy="157181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490" fontAlgn="base">
                <a:lnSpc>
                  <a:spcPct val="90000"/>
                </a:lnSpc>
                <a:spcBef>
                  <a:spcPct val="0"/>
                </a:spcBef>
                <a:spcAft>
                  <a:spcPct val="0"/>
                </a:spcAft>
                <a:defRPr/>
              </a:pPr>
              <a:endParaRPr lang="en-US" sz="2353"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36" name="Group 35">
              <a:extLst>
                <a:ext uri="{FF2B5EF4-FFF2-40B4-BE49-F238E27FC236}">
                  <a16:creationId xmlns:a16="http://schemas.microsoft.com/office/drawing/2014/main" id="{922F9BC5-2A9C-40A8-867A-1CC30B831450}"/>
                </a:ext>
              </a:extLst>
            </p:cNvPr>
            <p:cNvGrpSpPr/>
            <p:nvPr/>
          </p:nvGrpSpPr>
          <p:grpSpPr>
            <a:xfrm>
              <a:off x="695840" y="1673308"/>
              <a:ext cx="4310368" cy="1423791"/>
              <a:chOff x="-674307" y="4513591"/>
              <a:chExt cx="4397952" cy="1452718"/>
            </a:xfrm>
            <a:grpFill/>
          </p:grpSpPr>
          <p:sp>
            <p:nvSpPr>
              <p:cNvPr id="37" name="TextBox 36">
                <a:extLst>
                  <a:ext uri="{FF2B5EF4-FFF2-40B4-BE49-F238E27FC236}">
                    <a16:creationId xmlns:a16="http://schemas.microsoft.com/office/drawing/2014/main" id="{D7FA4693-E302-4BF4-87AF-0E165402165E}"/>
                  </a:ext>
                </a:extLst>
              </p:cNvPr>
              <p:cNvSpPr txBox="1"/>
              <p:nvPr/>
            </p:nvSpPr>
            <p:spPr>
              <a:xfrm>
                <a:off x="-674307" y="4513591"/>
                <a:ext cx="4397952" cy="860718"/>
              </a:xfrm>
              <a:prstGeom prst="rect">
                <a:avLst/>
              </a:prstGeom>
              <a:grpFill/>
            </p:spPr>
            <p:txBody>
              <a:bodyPr wrap="square" lIns="175715" tIns="140572" rIns="175715" bIns="140572" rtlCol="0">
                <a:spAutoFit/>
              </a:bodyPr>
              <a:lstStyle/>
              <a:p>
                <a:pPr algn="ctr" defTabSz="894955">
                  <a:lnSpc>
                    <a:spcPct val="90000"/>
                  </a:lnSpc>
                  <a:defRPr/>
                </a:pPr>
                <a:r>
                  <a:rPr lang="en-US" sz="3921" b="1" dirty="0">
                    <a:gradFill>
                      <a:gsLst>
                        <a:gs pos="13274">
                          <a:srgbClr val="FFFFFF"/>
                        </a:gs>
                        <a:gs pos="36000">
                          <a:srgbClr val="FFFFFF"/>
                        </a:gs>
                      </a:gsLst>
                      <a:lin ang="5400000" scaled="0"/>
                    </a:gradFill>
                    <a:latin typeface="Segoe UI Semibold" charset="0"/>
                    <a:ea typeface="Segoe UI Semibold" charset="0"/>
                    <a:cs typeface="Segoe UI Semibold" charset="0"/>
                  </a:rPr>
                  <a:t>$200,000</a:t>
                </a:r>
              </a:p>
            </p:txBody>
          </p:sp>
          <p:sp>
            <p:nvSpPr>
              <p:cNvPr id="38" name="TextBox 37">
                <a:extLst>
                  <a:ext uri="{FF2B5EF4-FFF2-40B4-BE49-F238E27FC236}">
                    <a16:creationId xmlns:a16="http://schemas.microsoft.com/office/drawing/2014/main" id="{F1C4E8B7-6F9F-4B77-AA3B-4C1D5DC0EE4F}"/>
                  </a:ext>
                </a:extLst>
              </p:cNvPr>
              <p:cNvSpPr txBox="1"/>
              <p:nvPr/>
            </p:nvSpPr>
            <p:spPr>
              <a:xfrm>
                <a:off x="-674307" y="5105590"/>
                <a:ext cx="4382634" cy="860719"/>
              </a:xfrm>
              <a:prstGeom prst="rect">
                <a:avLst/>
              </a:prstGeom>
              <a:grpFill/>
            </p:spPr>
            <p:txBody>
              <a:bodyPr wrap="square" lIns="175715" tIns="140572" rIns="0" bIns="140572" rtlCol="0" anchor="ctr">
                <a:spAutoFit/>
              </a:bodyPr>
              <a:lstStyle/>
              <a:p>
                <a:pPr algn="ctr" defTabSz="894955">
                  <a:defRPr/>
                </a:pPr>
                <a:r>
                  <a:rPr lang="en-US" sz="1765" dirty="0">
                    <a:gradFill>
                      <a:gsLst>
                        <a:gs pos="7080">
                          <a:srgbClr val="FFFFFF">
                            <a:lumMod val="95000"/>
                          </a:srgbClr>
                        </a:gs>
                        <a:gs pos="100000">
                          <a:srgbClr val="FFFFFF">
                            <a:lumMod val="95000"/>
                          </a:srgbClr>
                        </a:gs>
                      </a:gsLst>
                      <a:lin ang="5400000" scaled="0"/>
                    </a:gradFill>
                    <a:latin typeface="Segoe UI" charset="0"/>
                    <a:ea typeface="Segoe UI" charset="0"/>
                    <a:cs typeface="Segoe UI" charset="0"/>
                  </a:rPr>
                  <a:t>average lifetime earnings unrealized without high school diploma</a:t>
                </a:r>
              </a:p>
            </p:txBody>
          </p:sp>
        </p:grpSp>
      </p:grpSp>
      <p:grpSp>
        <p:nvGrpSpPr>
          <p:cNvPr id="44" name="Group 43">
            <a:extLst>
              <a:ext uri="{FF2B5EF4-FFF2-40B4-BE49-F238E27FC236}">
                <a16:creationId xmlns:a16="http://schemas.microsoft.com/office/drawing/2014/main" id="{CE4BD81C-D285-4670-A49B-8AF57CF322DB}"/>
              </a:ext>
            </a:extLst>
          </p:cNvPr>
          <p:cNvGrpSpPr/>
          <p:nvPr/>
        </p:nvGrpSpPr>
        <p:grpSpPr>
          <a:xfrm>
            <a:off x="318360" y="3224061"/>
            <a:ext cx="4235479" cy="1540914"/>
            <a:chOff x="685799" y="1569526"/>
            <a:chExt cx="4320409" cy="1571812"/>
          </a:xfrm>
          <a:solidFill>
            <a:srgbClr val="00B0F0"/>
          </a:solidFill>
        </p:grpSpPr>
        <p:sp>
          <p:nvSpPr>
            <p:cNvPr id="45" name="Rectangle 44">
              <a:extLst>
                <a:ext uri="{FF2B5EF4-FFF2-40B4-BE49-F238E27FC236}">
                  <a16:creationId xmlns:a16="http://schemas.microsoft.com/office/drawing/2014/main" id="{9135600E-32E4-417F-B00B-33679165EDC3}"/>
                </a:ext>
              </a:extLst>
            </p:cNvPr>
            <p:cNvSpPr/>
            <p:nvPr/>
          </p:nvSpPr>
          <p:spPr bwMode="auto">
            <a:xfrm>
              <a:off x="685799" y="1569526"/>
              <a:ext cx="4320409" cy="157181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490" fontAlgn="base">
                <a:lnSpc>
                  <a:spcPct val="90000"/>
                </a:lnSpc>
                <a:spcBef>
                  <a:spcPct val="0"/>
                </a:spcBef>
                <a:spcAft>
                  <a:spcPct val="0"/>
                </a:spcAft>
                <a:defRPr/>
              </a:pPr>
              <a:endParaRPr lang="en-US" sz="2353"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46" name="Group 45">
              <a:extLst>
                <a:ext uri="{FF2B5EF4-FFF2-40B4-BE49-F238E27FC236}">
                  <a16:creationId xmlns:a16="http://schemas.microsoft.com/office/drawing/2014/main" id="{922F9BC5-2A9C-40A8-867A-1CC30B831450}"/>
                </a:ext>
              </a:extLst>
            </p:cNvPr>
            <p:cNvGrpSpPr/>
            <p:nvPr/>
          </p:nvGrpSpPr>
          <p:grpSpPr>
            <a:xfrm>
              <a:off x="695840" y="1673308"/>
              <a:ext cx="4310368" cy="1423790"/>
              <a:chOff x="-674307" y="4513591"/>
              <a:chExt cx="4397952" cy="1452717"/>
            </a:xfrm>
            <a:grpFill/>
          </p:grpSpPr>
          <p:sp>
            <p:nvSpPr>
              <p:cNvPr id="47" name="TextBox 46">
                <a:extLst>
                  <a:ext uri="{FF2B5EF4-FFF2-40B4-BE49-F238E27FC236}">
                    <a16:creationId xmlns:a16="http://schemas.microsoft.com/office/drawing/2014/main" id="{D7FA4693-E302-4BF4-87AF-0E165402165E}"/>
                  </a:ext>
                </a:extLst>
              </p:cNvPr>
              <p:cNvSpPr txBox="1"/>
              <p:nvPr/>
            </p:nvSpPr>
            <p:spPr>
              <a:xfrm>
                <a:off x="-674307" y="4513591"/>
                <a:ext cx="4397952" cy="860718"/>
              </a:xfrm>
              <a:prstGeom prst="rect">
                <a:avLst/>
              </a:prstGeom>
              <a:grpFill/>
            </p:spPr>
            <p:txBody>
              <a:bodyPr wrap="square" lIns="175715" tIns="140572" rIns="175715" bIns="140572" rtlCol="0">
                <a:spAutoFit/>
              </a:bodyPr>
              <a:lstStyle/>
              <a:p>
                <a:pPr algn="ctr" defTabSz="894955">
                  <a:lnSpc>
                    <a:spcPct val="90000"/>
                  </a:lnSpc>
                  <a:defRPr/>
                </a:pPr>
                <a:r>
                  <a:rPr lang="en-US" sz="3921" b="1" dirty="0">
                    <a:gradFill>
                      <a:gsLst>
                        <a:gs pos="13274">
                          <a:srgbClr val="FFFFFF"/>
                        </a:gs>
                        <a:gs pos="36000">
                          <a:srgbClr val="FFFFFF"/>
                        </a:gs>
                      </a:gsLst>
                      <a:lin ang="5400000" scaled="0"/>
                    </a:gradFill>
                    <a:latin typeface="Segoe UI Semibold" charset="0"/>
                    <a:ea typeface="Segoe UI Semibold" charset="0"/>
                    <a:cs typeface="Segoe UI Semibold" charset="0"/>
                  </a:rPr>
                  <a:t>1.2 million</a:t>
                </a:r>
              </a:p>
            </p:txBody>
          </p:sp>
          <p:sp>
            <p:nvSpPr>
              <p:cNvPr id="48" name="TextBox 47">
                <a:extLst>
                  <a:ext uri="{FF2B5EF4-FFF2-40B4-BE49-F238E27FC236}">
                    <a16:creationId xmlns:a16="http://schemas.microsoft.com/office/drawing/2014/main" id="{F1C4E8B7-6F9F-4B77-AA3B-4C1D5DC0EE4F}"/>
                  </a:ext>
                </a:extLst>
              </p:cNvPr>
              <p:cNvSpPr txBox="1"/>
              <p:nvPr/>
            </p:nvSpPr>
            <p:spPr>
              <a:xfrm>
                <a:off x="-674307" y="5105590"/>
                <a:ext cx="4382634" cy="860718"/>
              </a:xfrm>
              <a:prstGeom prst="rect">
                <a:avLst/>
              </a:prstGeom>
              <a:grpFill/>
            </p:spPr>
            <p:txBody>
              <a:bodyPr wrap="square" lIns="175715" tIns="140572" rIns="0" bIns="140572" rtlCol="0" anchor="ctr">
                <a:spAutoFit/>
              </a:bodyPr>
              <a:lstStyle/>
              <a:p>
                <a:pPr algn="ctr" defTabSz="894955">
                  <a:defRPr/>
                </a:pPr>
                <a:r>
                  <a:rPr lang="en-US" sz="1765" dirty="0">
                    <a:gradFill>
                      <a:gsLst>
                        <a:gs pos="7080">
                          <a:srgbClr val="FFFFFF">
                            <a:lumMod val="95000"/>
                          </a:srgbClr>
                        </a:gs>
                        <a:gs pos="100000">
                          <a:srgbClr val="FFFFFF">
                            <a:lumMod val="95000"/>
                          </a:srgbClr>
                        </a:gs>
                      </a:gsLst>
                      <a:lin ang="5400000" scaled="0"/>
                    </a:gradFill>
                    <a:latin typeface="Segoe UI" charset="0"/>
                    <a:ea typeface="Segoe UI" charset="0"/>
                    <a:cs typeface="Segoe UI" charset="0"/>
                  </a:rPr>
                  <a:t>students drop out of</a:t>
                </a:r>
                <a:br>
                  <a:rPr lang="en-US" sz="1765" dirty="0">
                    <a:gradFill>
                      <a:gsLst>
                        <a:gs pos="7080">
                          <a:srgbClr val="FFFFFF">
                            <a:lumMod val="95000"/>
                          </a:srgbClr>
                        </a:gs>
                        <a:gs pos="100000">
                          <a:srgbClr val="FFFFFF">
                            <a:lumMod val="95000"/>
                          </a:srgbClr>
                        </a:gs>
                      </a:gsLst>
                      <a:lin ang="5400000" scaled="0"/>
                    </a:gradFill>
                    <a:latin typeface="Segoe UI" charset="0"/>
                    <a:ea typeface="Segoe UI" charset="0"/>
                    <a:cs typeface="Segoe UI" charset="0"/>
                  </a:rPr>
                </a:br>
                <a:r>
                  <a:rPr lang="en-US" sz="1765" dirty="0">
                    <a:gradFill>
                      <a:gsLst>
                        <a:gs pos="7080">
                          <a:srgbClr val="FFFFFF">
                            <a:lumMod val="95000"/>
                          </a:srgbClr>
                        </a:gs>
                        <a:gs pos="100000">
                          <a:srgbClr val="FFFFFF">
                            <a:lumMod val="95000"/>
                          </a:srgbClr>
                        </a:gs>
                      </a:gsLst>
                      <a:lin ang="5400000" scaled="0"/>
                    </a:gradFill>
                    <a:latin typeface="Segoe UI" charset="0"/>
                    <a:ea typeface="Segoe UI" charset="0"/>
                    <a:cs typeface="Segoe UI" charset="0"/>
                  </a:rPr>
                  <a:t>high school in the US</a:t>
                </a:r>
              </a:p>
            </p:txBody>
          </p:sp>
        </p:grpSp>
      </p:grpSp>
      <p:sp>
        <p:nvSpPr>
          <p:cNvPr id="24" name="Title 1">
            <a:extLst>
              <a:ext uri="{FF2B5EF4-FFF2-40B4-BE49-F238E27FC236}">
                <a16:creationId xmlns:a16="http://schemas.microsoft.com/office/drawing/2014/main" id="{CBFF206F-9F8B-42B0-B39E-4E215AD3A427}"/>
              </a:ext>
            </a:extLst>
          </p:cNvPr>
          <p:cNvSpPr txBox="1">
            <a:spLocks/>
          </p:cNvSpPr>
          <p:nvPr/>
        </p:nvSpPr>
        <p:spPr>
          <a:xfrm>
            <a:off x="121655" y="88277"/>
            <a:ext cx="11109311" cy="832764"/>
          </a:xfrm>
          <a:prstGeom prst="rect">
            <a:avLst/>
          </a:prstGeom>
        </p:spPr>
        <p:txBody>
          <a:bodyPr vert="horz" wrap="square" lIns="146304" tIns="91440" rIns="146304" bIns="91440" rtlCol="0" anchor="t">
            <a:spAutoFit/>
          </a:bodyPr>
          <a:lstStyle>
            <a:lvl1pPr algn="l" defTabSz="914367" rtl="0" eaLnBrk="1" latinLnBrk="0" hangingPunct="1">
              <a:lnSpc>
                <a:spcPct val="90000"/>
              </a:lnSpc>
              <a:spcBef>
                <a:spcPct val="0"/>
              </a:spcBef>
              <a:buNone/>
              <a:defRPr lang="en-US" sz="4705" b="0" kern="1200" cap="none" spc="-100" baseline="0" dirty="0" smtClean="0">
                <a:ln w="3175">
                  <a:noFill/>
                </a:ln>
                <a:solidFill>
                  <a:schemeClr val="tx1"/>
                </a:solidFill>
                <a:effectLst/>
                <a:latin typeface="+mj-lt"/>
                <a:ea typeface="+mn-ea"/>
                <a:cs typeface="Segoe UI" pitchFamily="34" charset="0"/>
              </a:defRPr>
            </a:lvl1pPr>
          </a:lstStyle>
          <a:p>
            <a:r>
              <a:rPr lang="en-US" dirty="0"/>
              <a:t>Key Trends</a:t>
            </a:r>
          </a:p>
        </p:txBody>
      </p:sp>
    </p:spTree>
    <p:extLst>
      <p:ext uri="{BB962C8B-B14F-4D97-AF65-F5344CB8AC3E}">
        <p14:creationId xmlns:p14="http://schemas.microsoft.com/office/powerpoint/2010/main" val="221194006"/>
      </p:ext>
    </p:extLst>
  </p:cSld>
  <p:clrMapOvr>
    <a:masterClrMapping/>
  </p:clrMapOvr>
  <p:transition spd="slow">
    <p:push dir="u"/>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nvSpPr>
        <p:spPr>
          <a:xfrm>
            <a:off x="1832656" y="1349651"/>
            <a:ext cx="10037743" cy="1421858"/>
          </a:xfrm>
          <a:prstGeom prst="rect">
            <a:avLst/>
          </a:prstGeom>
          <a:solidFill>
            <a:srgbClr val="00B0F0">
              <a:alpha val="90000"/>
            </a:srgbClr>
          </a:solidFill>
        </p:spPr>
        <p:txBody>
          <a:bodyPr wrap="square" lIns="274267" tIns="0" rIns="0" bIns="0" rtlCol="0" anchor="ctr" anchorCtr="0">
            <a:noAutofit/>
          </a:bodyPr>
          <a:lstStyle/>
          <a:p>
            <a:pPr lvl="0"/>
            <a:r>
              <a:rPr lang="en-US" sz="2353" dirty="0">
                <a:solidFill>
                  <a:schemeClr val="bg1"/>
                </a:solidFill>
                <a:latin typeface="Segoe UI Light" charset="0"/>
                <a:cs typeface="Segoe UI Light" charset="0"/>
              </a:rPr>
              <a:t>Only 26% of a sample of chief academic officers says their institutions are very effective in using data to inform campus decision-making</a:t>
            </a:r>
          </a:p>
        </p:txBody>
      </p:sp>
      <p:sp>
        <p:nvSpPr>
          <p:cNvPr id="2" name="Title 1"/>
          <p:cNvSpPr>
            <a:spLocks noGrp="1"/>
          </p:cNvSpPr>
          <p:nvPr>
            <p:ph type="title"/>
          </p:nvPr>
        </p:nvSpPr>
        <p:spPr>
          <a:xfrm>
            <a:off x="121655" y="88277"/>
            <a:ext cx="11109311" cy="832764"/>
          </a:xfrm>
        </p:spPr>
        <p:txBody>
          <a:bodyPr wrap="square">
            <a:spAutoFit/>
          </a:bodyPr>
          <a:lstStyle/>
          <a:p>
            <a:r>
              <a:rPr lang="en-US" dirty="0"/>
              <a:t>Fast Facts</a:t>
            </a:r>
          </a:p>
        </p:txBody>
      </p:sp>
      <p:sp>
        <p:nvSpPr>
          <p:cNvPr id="59" name="Rectangle 58"/>
          <p:cNvSpPr/>
          <p:nvPr/>
        </p:nvSpPr>
        <p:spPr>
          <a:xfrm>
            <a:off x="609968" y="996475"/>
            <a:ext cx="1222687" cy="1003996"/>
          </a:xfrm>
          <a:prstGeom prst="rect">
            <a:avLst/>
          </a:prstGeom>
          <a:solidFill>
            <a:srgbClr val="0070C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t"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algn="r" defTabSz="913748" fontAlgn="base">
              <a:lnSpc>
                <a:spcPct val="90000"/>
              </a:lnSpc>
              <a:spcBef>
                <a:spcPct val="0"/>
              </a:spcBef>
              <a:spcAft>
                <a:spcPct val="0"/>
              </a:spcAft>
              <a:defRPr/>
            </a:pPr>
            <a:endParaRPr lang="en-US" sz="1568" dirty="0">
              <a:gradFill>
                <a:gsLst>
                  <a:gs pos="77647">
                    <a:srgbClr val="FFFFFF"/>
                  </a:gs>
                  <a:gs pos="52000">
                    <a:srgbClr val="FFFFFF"/>
                  </a:gs>
                </a:gsLst>
                <a:lin ang="5400000" scaled="0"/>
              </a:gradFill>
              <a:latin typeface="Segoe UI"/>
              <a:ea typeface="Segoe UI" pitchFamily="34" charset="0"/>
              <a:cs typeface="Segoe UI" pitchFamily="34" charset="0"/>
            </a:endParaRPr>
          </a:p>
        </p:txBody>
      </p:sp>
      <p:pic>
        <p:nvPicPr>
          <p:cNvPr id="34" name="Picture 33">
            <a:extLst>
              <a:ext uri="{FF2B5EF4-FFF2-40B4-BE49-F238E27FC236}">
                <a16:creationId xmlns:a16="http://schemas.microsoft.com/office/drawing/2014/main" id="{777FF840-A78F-4EAB-9237-1752C40D1744}"/>
              </a:ext>
            </a:extLst>
          </p:cNvPr>
          <p:cNvPicPr>
            <a:picLocks noChangeAspect="1"/>
          </p:cNvPicPr>
          <p:nvPr/>
        </p:nvPicPr>
        <p:blipFill>
          <a:blip r:embed="rId3"/>
          <a:stretch>
            <a:fillRect/>
          </a:stretch>
        </p:blipFill>
        <p:spPr>
          <a:xfrm>
            <a:off x="777834" y="1062772"/>
            <a:ext cx="871400" cy="871400"/>
          </a:xfrm>
          <a:prstGeom prst="rect">
            <a:avLst/>
          </a:prstGeom>
        </p:spPr>
      </p:pic>
      <p:sp>
        <p:nvSpPr>
          <p:cNvPr id="36" name="Rectangle 35"/>
          <p:cNvSpPr/>
          <p:nvPr/>
        </p:nvSpPr>
        <p:spPr>
          <a:xfrm>
            <a:off x="609968" y="2907325"/>
            <a:ext cx="1222687" cy="1003996"/>
          </a:xfrm>
          <a:prstGeom prst="rect">
            <a:avLst/>
          </a:prstGeom>
          <a:solidFill>
            <a:srgbClr val="0070C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t"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algn="r" defTabSz="913748" fontAlgn="base">
              <a:lnSpc>
                <a:spcPct val="90000"/>
              </a:lnSpc>
              <a:spcBef>
                <a:spcPct val="0"/>
              </a:spcBef>
              <a:spcAft>
                <a:spcPct val="0"/>
              </a:spcAft>
              <a:defRPr/>
            </a:pPr>
            <a:endParaRPr lang="en-US" sz="1568" dirty="0">
              <a:gradFill>
                <a:gsLst>
                  <a:gs pos="77647">
                    <a:srgbClr val="FFFFFF"/>
                  </a:gs>
                  <a:gs pos="52000">
                    <a:srgbClr val="FFFFFF"/>
                  </a:gs>
                </a:gsLst>
                <a:lin ang="5400000" scaled="0"/>
              </a:gradFill>
              <a:latin typeface="Segoe UI"/>
              <a:ea typeface="Segoe UI" pitchFamily="34" charset="0"/>
              <a:cs typeface="Segoe UI" pitchFamily="34" charset="0"/>
            </a:endParaRPr>
          </a:p>
        </p:txBody>
      </p:sp>
      <p:sp>
        <p:nvSpPr>
          <p:cNvPr id="38" name="Rectangle 37"/>
          <p:cNvSpPr/>
          <p:nvPr/>
        </p:nvSpPr>
        <p:spPr>
          <a:xfrm>
            <a:off x="609968" y="4940127"/>
            <a:ext cx="1222687" cy="1003996"/>
          </a:xfrm>
          <a:prstGeom prst="rect">
            <a:avLst/>
          </a:prstGeom>
          <a:solidFill>
            <a:srgbClr val="0070C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t"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algn="r" defTabSz="913748" fontAlgn="base">
              <a:lnSpc>
                <a:spcPct val="90000"/>
              </a:lnSpc>
              <a:spcBef>
                <a:spcPct val="0"/>
              </a:spcBef>
              <a:spcAft>
                <a:spcPct val="0"/>
              </a:spcAft>
              <a:defRPr/>
            </a:pPr>
            <a:endParaRPr lang="en-US" sz="1568" dirty="0">
              <a:gradFill>
                <a:gsLst>
                  <a:gs pos="77647">
                    <a:srgbClr val="FFFFFF"/>
                  </a:gs>
                  <a:gs pos="52000">
                    <a:srgbClr val="FFFFFF"/>
                  </a:gs>
                </a:gsLst>
                <a:lin ang="5400000" scaled="0"/>
              </a:gradFill>
              <a:latin typeface="Segoe UI"/>
              <a:ea typeface="Segoe UI" pitchFamily="34" charset="0"/>
              <a:cs typeface="Segoe UI" pitchFamily="34" charset="0"/>
            </a:endParaRPr>
          </a:p>
        </p:txBody>
      </p:sp>
      <p:pic>
        <p:nvPicPr>
          <p:cNvPr id="39" name="Picture 38">
            <a:extLst>
              <a:ext uri="{FF2B5EF4-FFF2-40B4-BE49-F238E27FC236}">
                <a16:creationId xmlns:a16="http://schemas.microsoft.com/office/drawing/2014/main" id="{200A8479-8430-4A1A-8843-A89DBE3D75E9}"/>
              </a:ext>
            </a:extLst>
          </p:cNvPr>
          <p:cNvPicPr>
            <a:picLocks noChangeAspect="1"/>
          </p:cNvPicPr>
          <p:nvPr/>
        </p:nvPicPr>
        <p:blipFill>
          <a:blip r:embed="rId4"/>
          <a:stretch>
            <a:fillRect/>
          </a:stretch>
        </p:blipFill>
        <p:spPr>
          <a:xfrm>
            <a:off x="845064" y="3040854"/>
            <a:ext cx="736938" cy="736938"/>
          </a:xfrm>
          <a:prstGeom prst="rect">
            <a:avLst/>
          </a:prstGeom>
        </p:spPr>
      </p:pic>
      <p:pic>
        <p:nvPicPr>
          <p:cNvPr id="40" name="Picture 39">
            <a:extLst>
              <a:ext uri="{FF2B5EF4-FFF2-40B4-BE49-F238E27FC236}">
                <a16:creationId xmlns:a16="http://schemas.microsoft.com/office/drawing/2014/main" id="{B8C3424E-D639-4DE3-8173-F3047BA8216F}"/>
              </a:ext>
            </a:extLst>
          </p:cNvPr>
          <p:cNvPicPr>
            <a:picLocks noChangeAspect="1"/>
          </p:cNvPicPr>
          <p:nvPr/>
        </p:nvPicPr>
        <p:blipFill>
          <a:blip r:embed="rId5"/>
          <a:stretch>
            <a:fillRect/>
          </a:stretch>
        </p:blipFill>
        <p:spPr>
          <a:xfrm>
            <a:off x="917078" y="5149341"/>
            <a:ext cx="631041" cy="631041"/>
          </a:xfrm>
          <a:prstGeom prst="rect">
            <a:avLst/>
          </a:prstGeom>
        </p:spPr>
      </p:pic>
      <p:sp>
        <p:nvSpPr>
          <p:cNvPr id="15" name="Rectangle 14">
            <a:extLst>
              <a:ext uri="{FF2B5EF4-FFF2-40B4-BE49-F238E27FC236}">
                <a16:creationId xmlns:a16="http://schemas.microsoft.com/office/drawing/2014/main" id="{D8101045-275E-4A4C-B727-EDC7CC3348AD}"/>
              </a:ext>
            </a:extLst>
          </p:cNvPr>
          <p:cNvSpPr/>
          <p:nvPr/>
        </p:nvSpPr>
        <p:spPr>
          <a:xfrm>
            <a:off x="1832655" y="3386010"/>
            <a:ext cx="10037743" cy="1421858"/>
          </a:xfrm>
          <a:prstGeom prst="rect">
            <a:avLst/>
          </a:prstGeom>
          <a:solidFill>
            <a:srgbClr val="00B0F0">
              <a:alpha val="90000"/>
            </a:srgbClr>
          </a:solidFill>
        </p:spPr>
        <p:txBody>
          <a:bodyPr wrap="square" lIns="274267" tIns="0" rIns="0" bIns="0" rtlCol="0" anchor="ctr" anchorCtr="0">
            <a:noAutofit/>
          </a:bodyPr>
          <a:lstStyle/>
          <a:p>
            <a:pPr lvl="0"/>
            <a:r>
              <a:rPr lang="en-US" sz="2353" dirty="0">
                <a:solidFill>
                  <a:schemeClr val="bg1"/>
                </a:solidFill>
                <a:latin typeface="Segoe UI Light" charset="0"/>
                <a:cs typeface="Segoe UI Light" charset="0"/>
              </a:rPr>
              <a:t>Only 16% say their institutions are very effective in data analysis and organizational analytics</a:t>
            </a:r>
          </a:p>
        </p:txBody>
      </p:sp>
      <p:sp>
        <p:nvSpPr>
          <p:cNvPr id="16" name="Rectangle 15">
            <a:extLst>
              <a:ext uri="{FF2B5EF4-FFF2-40B4-BE49-F238E27FC236}">
                <a16:creationId xmlns:a16="http://schemas.microsoft.com/office/drawing/2014/main" id="{5E5E1F5C-2299-40E1-B51A-74CC12E90AA7}"/>
              </a:ext>
            </a:extLst>
          </p:cNvPr>
          <p:cNvSpPr/>
          <p:nvPr/>
        </p:nvSpPr>
        <p:spPr>
          <a:xfrm>
            <a:off x="1832655" y="5365452"/>
            <a:ext cx="10037743" cy="1421858"/>
          </a:xfrm>
          <a:prstGeom prst="rect">
            <a:avLst/>
          </a:prstGeom>
          <a:solidFill>
            <a:srgbClr val="00B0F0">
              <a:alpha val="90000"/>
            </a:srgbClr>
          </a:solidFill>
        </p:spPr>
        <p:txBody>
          <a:bodyPr wrap="square" lIns="274267" tIns="0" rIns="0" bIns="0" rtlCol="0" anchor="ctr" anchorCtr="0">
            <a:noAutofit/>
          </a:bodyPr>
          <a:lstStyle/>
          <a:p>
            <a:r>
              <a:rPr lang="en-US" sz="2353" dirty="0">
                <a:solidFill>
                  <a:schemeClr val="bg1"/>
                </a:solidFill>
                <a:latin typeface="Segoe UI Light" charset="0"/>
                <a:cs typeface="Segoe UI Light" charset="0"/>
              </a:rPr>
              <a:t>Evidence-based leadership and management continue to be a growing trend in education institutions</a:t>
            </a:r>
          </a:p>
        </p:txBody>
      </p:sp>
    </p:spTree>
    <p:extLst>
      <p:ext uri="{BB962C8B-B14F-4D97-AF65-F5344CB8AC3E}">
        <p14:creationId xmlns:p14="http://schemas.microsoft.com/office/powerpoint/2010/main" val="3878964991"/>
      </p:ext>
    </p:extLst>
  </p:cSld>
  <p:clrMapOvr>
    <a:masterClrMapping/>
  </p:clrMapOvr>
  <p:transition spd="slow">
    <p:push dir="u"/>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nvSpPr>
        <p:spPr>
          <a:xfrm>
            <a:off x="1262391" y="2436169"/>
            <a:ext cx="10608008" cy="3286950"/>
          </a:xfrm>
          <a:prstGeom prst="rect">
            <a:avLst/>
          </a:prstGeom>
          <a:solidFill>
            <a:srgbClr val="00B0F0">
              <a:alpha val="90000"/>
            </a:srgbClr>
          </a:solidFill>
          <a:ln>
            <a:solidFill>
              <a:srgbClr val="00B0F0"/>
            </a:solidFill>
          </a:ln>
        </p:spPr>
        <p:txBody>
          <a:bodyPr wrap="square" lIns="274267" tIns="0" rIns="0" bIns="0" rtlCol="0" anchor="ctr" anchorCtr="0">
            <a:noAutofit/>
          </a:bodyPr>
          <a:lstStyle/>
          <a:p>
            <a:pPr lvl="0"/>
            <a:r>
              <a:rPr lang="en-US" sz="1765" dirty="0">
                <a:solidFill>
                  <a:schemeClr val="bg1"/>
                </a:solidFill>
                <a:latin typeface="Segoe UI Light" charset="0"/>
                <a:cs typeface="Segoe UI Light" charset="0"/>
              </a:rPr>
              <a:t>A set of ongoing and systematic, institutional processes and practices that include: </a:t>
            </a:r>
          </a:p>
          <a:p>
            <a:pPr marL="793328" lvl="1" indent="-336145">
              <a:buFont typeface="Arial" panose="020B0604020202020204" pitchFamily="34" charset="0"/>
              <a:buChar char="•"/>
            </a:pPr>
            <a:r>
              <a:rPr lang="en-US" sz="1765" dirty="0">
                <a:solidFill>
                  <a:schemeClr val="bg1"/>
                </a:solidFill>
                <a:latin typeface="Segoe UI Light" charset="0"/>
                <a:cs typeface="Segoe UI Light" charset="0"/>
              </a:rPr>
              <a:t>planning</a:t>
            </a:r>
          </a:p>
          <a:p>
            <a:pPr marL="793328" lvl="1" indent="-336145">
              <a:buFont typeface="Arial" panose="020B0604020202020204" pitchFamily="34" charset="0"/>
              <a:buChar char="•"/>
            </a:pPr>
            <a:r>
              <a:rPr lang="en-US" sz="1765" dirty="0">
                <a:solidFill>
                  <a:schemeClr val="bg1"/>
                </a:solidFill>
                <a:latin typeface="Segoe UI Light" charset="0"/>
                <a:cs typeface="Segoe UI Light" charset="0"/>
              </a:rPr>
              <a:t>the evaluation of programs and services </a:t>
            </a:r>
          </a:p>
          <a:p>
            <a:pPr lvl="1"/>
            <a:r>
              <a:rPr lang="en-US" sz="1765" dirty="0">
                <a:solidFill>
                  <a:schemeClr val="bg1"/>
                </a:solidFill>
                <a:latin typeface="Segoe UI Light" charset="0"/>
                <a:cs typeface="Segoe UI Light" charset="0"/>
              </a:rPr>
              <a:t>	</a:t>
            </a:r>
            <a:r>
              <a:rPr lang="en-US" sz="1765" i="1" dirty="0">
                <a:solidFill>
                  <a:schemeClr val="bg1"/>
                </a:solidFill>
                <a:latin typeface="Segoe UI Light" charset="0"/>
                <a:cs typeface="Segoe UI Light" charset="0"/>
              </a:rPr>
              <a:t>(administration and student services)</a:t>
            </a:r>
          </a:p>
          <a:p>
            <a:pPr marL="793328" lvl="1" indent="-336145">
              <a:buFont typeface="Arial" panose="020B0604020202020204" pitchFamily="34" charset="0"/>
              <a:buChar char="•"/>
            </a:pPr>
            <a:r>
              <a:rPr lang="en-US" sz="1765" dirty="0">
                <a:solidFill>
                  <a:schemeClr val="bg1"/>
                </a:solidFill>
                <a:latin typeface="Segoe UI Light" charset="0"/>
                <a:cs typeface="Segoe UI Light" charset="0"/>
              </a:rPr>
              <a:t>the identification and measurement of outcomes across all institutional units </a:t>
            </a:r>
          </a:p>
          <a:p>
            <a:pPr lvl="1"/>
            <a:r>
              <a:rPr lang="en-US" sz="1765" dirty="0">
                <a:solidFill>
                  <a:schemeClr val="bg1"/>
                </a:solidFill>
                <a:latin typeface="Segoe UI Light" charset="0"/>
                <a:cs typeface="Segoe UI Light" charset="0"/>
              </a:rPr>
              <a:t>	</a:t>
            </a:r>
            <a:r>
              <a:rPr lang="en-US" sz="1765" i="1" dirty="0">
                <a:solidFill>
                  <a:schemeClr val="bg1"/>
                </a:solidFill>
                <a:latin typeface="Segoe UI Light" charset="0"/>
                <a:cs typeface="Segoe UI Light" charset="0"/>
              </a:rPr>
              <a:t>(measuring learning and program outcomes in instructional programs)</a:t>
            </a:r>
          </a:p>
          <a:p>
            <a:pPr marL="793328" lvl="1" indent="-336145">
              <a:buFont typeface="Arial" panose="020B0604020202020204" pitchFamily="34" charset="0"/>
              <a:buChar char="•"/>
            </a:pPr>
            <a:r>
              <a:rPr lang="en-US" sz="1765" dirty="0">
                <a:solidFill>
                  <a:schemeClr val="bg1"/>
                </a:solidFill>
                <a:latin typeface="Segoe UI Light" charset="0"/>
                <a:cs typeface="Segoe UI Light" charset="0"/>
              </a:rPr>
              <a:t>the use of data and assessment results to inform decision-making </a:t>
            </a:r>
          </a:p>
          <a:p>
            <a:pPr lvl="1"/>
            <a:r>
              <a:rPr lang="en-US" sz="1765" dirty="0">
                <a:solidFill>
                  <a:schemeClr val="bg1"/>
                </a:solidFill>
                <a:latin typeface="Segoe UI Light" charset="0"/>
                <a:cs typeface="Segoe UI Light" charset="0"/>
              </a:rPr>
              <a:t>	</a:t>
            </a:r>
            <a:r>
              <a:rPr lang="en-US" sz="1765" i="1" dirty="0">
                <a:solidFill>
                  <a:schemeClr val="bg1"/>
                </a:solidFill>
                <a:latin typeface="Segoe UI Light" charset="0"/>
                <a:cs typeface="Segoe UI Light" charset="0"/>
              </a:rPr>
              <a:t>(driving decisions based on culture of evidence)</a:t>
            </a:r>
          </a:p>
        </p:txBody>
      </p:sp>
      <p:sp>
        <p:nvSpPr>
          <p:cNvPr id="2" name="Title 1"/>
          <p:cNvSpPr>
            <a:spLocks noGrp="1"/>
          </p:cNvSpPr>
          <p:nvPr>
            <p:ph type="title"/>
          </p:nvPr>
        </p:nvSpPr>
        <p:spPr>
          <a:xfrm>
            <a:off x="121655" y="88277"/>
            <a:ext cx="11109311" cy="832764"/>
          </a:xfrm>
        </p:spPr>
        <p:txBody>
          <a:bodyPr wrap="square">
            <a:spAutoFit/>
          </a:bodyPr>
          <a:lstStyle/>
          <a:p>
            <a:r>
              <a:rPr lang="en-US" dirty="0"/>
              <a:t>Driving Institutional Effectiveness</a:t>
            </a:r>
          </a:p>
        </p:txBody>
      </p:sp>
      <p:sp>
        <p:nvSpPr>
          <p:cNvPr id="59" name="Rectangle 58"/>
          <p:cNvSpPr/>
          <p:nvPr/>
        </p:nvSpPr>
        <p:spPr>
          <a:xfrm>
            <a:off x="39704" y="1432173"/>
            <a:ext cx="1222687" cy="1003996"/>
          </a:xfrm>
          <a:prstGeom prst="rect">
            <a:avLst/>
          </a:prstGeom>
          <a:solidFill>
            <a:srgbClr val="0070C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t"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algn="r" defTabSz="913748" fontAlgn="base">
              <a:lnSpc>
                <a:spcPct val="90000"/>
              </a:lnSpc>
              <a:spcBef>
                <a:spcPct val="0"/>
              </a:spcBef>
              <a:spcAft>
                <a:spcPct val="0"/>
              </a:spcAft>
              <a:defRPr/>
            </a:pPr>
            <a:endParaRPr lang="en-US" sz="1568" dirty="0">
              <a:gradFill>
                <a:gsLst>
                  <a:gs pos="77647">
                    <a:srgbClr val="FFFFFF"/>
                  </a:gs>
                  <a:gs pos="52000">
                    <a:srgbClr val="FFFFFF"/>
                  </a:gs>
                </a:gsLst>
                <a:lin ang="5400000" scaled="0"/>
              </a:gradFill>
              <a:latin typeface="Segoe UI"/>
              <a:ea typeface="Segoe UI" pitchFamily="34" charset="0"/>
              <a:cs typeface="Segoe UI" pitchFamily="34" charset="0"/>
            </a:endParaRPr>
          </a:p>
        </p:txBody>
      </p:sp>
      <p:pic>
        <p:nvPicPr>
          <p:cNvPr id="34" name="Picture 33">
            <a:extLst>
              <a:ext uri="{FF2B5EF4-FFF2-40B4-BE49-F238E27FC236}">
                <a16:creationId xmlns:a16="http://schemas.microsoft.com/office/drawing/2014/main" id="{777FF840-A78F-4EAB-9237-1752C40D1744}"/>
              </a:ext>
            </a:extLst>
          </p:cNvPr>
          <p:cNvPicPr>
            <a:picLocks noChangeAspect="1"/>
          </p:cNvPicPr>
          <p:nvPr/>
        </p:nvPicPr>
        <p:blipFill>
          <a:blip r:embed="rId3"/>
          <a:stretch>
            <a:fillRect/>
          </a:stretch>
        </p:blipFill>
        <p:spPr>
          <a:xfrm>
            <a:off x="215348" y="1483679"/>
            <a:ext cx="871400" cy="871400"/>
          </a:xfrm>
          <a:prstGeom prst="rect">
            <a:avLst/>
          </a:prstGeom>
        </p:spPr>
      </p:pic>
    </p:spTree>
    <p:extLst>
      <p:ext uri="{BB962C8B-B14F-4D97-AF65-F5344CB8AC3E}">
        <p14:creationId xmlns:p14="http://schemas.microsoft.com/office/powerpoint/2010/main" val="1632019010"/>
      </p:ext>
    </p:extLst>
  </p:cSld>
  <p:clrMapOvr>
    <a:masterClrMapping/>
  </p:clrMapOvr>
  <p:transition spd="slow">
    <p:push dir="u"/>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0" y="0"/>
            <a:ext cx="4834194" cy="6858000"/>
          </a:xfrm>
          <a:prstGeom prst="rect">
            <a:avLst/>
          </a:prstGeom>
          <a:solidFill>
            <a:srgbClr val="00B0F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2880" tIns="182880" rIns="182880" bIns="182880" numCol="1" spcCol="0" rtlCol="0" fromWordArt="0" anchor="ctr" anchorCtr="0" forceAA="0" compatLnSpc="1">
            <a:prstTxWarp prst="textNoShape">
              <a:avLst/>
            </a:prstTxWarp>
            <a:noAutofit/>
          </a:bodyP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lvl="0">
              <a:spcAft>
                <a:spcPts val="1800"/>
              </a:spcAft>
            </a:pPr>
            <a:r>
              <a:rPr lang="en-US" sz="4400" dirty="0"/>
              <a:t>Top 5 Reasons Customers Move to the Cloud</a:t>
            </a:r>
            <a:r>
              <a:rPr lang="en-US" sz="4400" baseline="30000" dirty="0"/>
              <a:t>1</a:t>
            </a:r>
            <a:endParaRPr lang="en-US" sz="4400" kern="1200" dirty="0">
              <a:solidFill>
                <a:prstClr val="white"/>
              </a:solidFill>
              <a:latin typeface="Segoe UI Light"/>
              <a:ea typeface="Segoe UI" pitchFamily="34" charset="0"/>
              <a:cs typeface="Segoe UI" pitchFamily="34" charset="0"/>
            </a:endParaRPr>
          </a:p>
        </p:txBody>
      </p:sp>
      <p:sp>
        <p:nvSpPr>
          <p:cNvPr id="3" name="Content Placeholder 2"/>
          <p:cNvSpPr>
            <a:spLocks noGrp="1"/>
          </p:cNvSpPr>
          <p:nvPr>
            <p:ph sz="quarter" idx="10"/>
          </p:nvPr>
        </p:nvSpPr>
        <p:spPr>
          <a:xfrm>
            <a:off x="6045686" y="401485"/>
            <a:ext cx="5580953" cy="6188827"/>
          </a:xfrm>
        </p:spPr>
        <p:txBody>
          <a:bodyPr/>
          <a:lstStyle/>
          <a:p>
            <a:pPr>
              <a:lnSpc>
                <a:spcPts val="2880"/>
              </a:lnSpc>
              <a:spcBef>
                <a:spcPts val="1176"/>
              </a:spcBef>
            </a:pPr>
            <a:r>
              <a:rPr lang="en-US" dirty="0"/>
              <a:t>Requirement for resiliency/disaster recovery</a:t>
            </a:r>
          </a:p>
          <a:p>
            <a:pPr>
              <a:lnSpc>
                <a:spcPts val="2880"/>
              </a:lnSpc>
              <a:spcBef>
                <a:spcPts val="1176"/>
              </a:spcBef>
            </a:pPr>
            <a:endParaRPr lang="en-US" dirty="0"/>
          </a:p>
          <a:p>
            <a:pPr>
              <a:lnSpc>
                <a:spcPts val="2880"/>
              </a:lnSpc>
              <a:spcBef>
                <a:spcPts val="1176"/>
              </a:spcBef>
            </a:pPr>
            <a:r>
              <a:rPr lang="en-US" dirty="0"/>
              <a:t>Maintaining highly available </a:t>
            </a:r>
            <a:br>
              <a:rPr lang="en-US" dirty="0"/>
            </a:br>
            <a:r>
              <a:rPr lang="en-US" dirty="0"/>
              <a:t>mission-critical applications</a:t>
            </a:r>
          </a:p>
          <a:p>
            <a:pPr>
              <a:lnSpc>
                <a:spcPts val="2880"/>
              </a:lnSpc>
              <a:spcBef>
                <a:spcPts val="1176"/>
              </a:spcBef>
            </a:pPr>
            <a:endParaRPr lang="en-US" dirty="0"/>
          </a:p>
          <a:p>
            <a:pPr>
              <a:lnSpc>
                <a:spcPts val="2880"/>
              </a:lnSpc>
              <a:spcBef>
                <a:spcPts val="1176"/>
              </a:spcBef>
            </a:pPr>
            <a:r>
              <a:rPr lang="en-US" dirty="0"/>
              <a:t>Need to scale compute and storage</a:t>
            </a:r>
          </a:p>
          <a:p>
            <a:pPr>
              <a:lnSpc>
                <a:spcPts val="2880"/>
              </a:lnSpc>
              <a:spcBef>
                <a:spcPts val="1176"/>
              </a:spcBef>
            </a:pPr>
            <a:endParaRPr lang="en-US" dirty="0"/>
          </a:p>
          <a:p>
            <a:pPr>
              <a:lnSpc>
                <a:spcPts val="2880"/>
              </a:lnSpc>
              <a:spcBef>
                <a:spcPts val="1176"/>
              </a:spcBef>
            </a:pPr>
            <a:r>
              <a:rPr lang="en-US" dirty="0"/>
              <a:t>Facing major capital expenses for </a:t>
            </a:r>
            <a:br>
              <a:rPr lang="en-US" dirty="0"/>
            </a:br>
            <a:r>
              <a:rPr lang="en-US" dirty="0"/>
              <a:t>hardware refresh</a:t>
            </a:r>
          </a:p>
          <a:p>
            <a:pPr>
              <a:lnSpc>
                <a:spcPts val="2880"/>
              </a:lnSpc>
              <a:spcBef>
                <a:spcPts val="1176"/>
              </a:spcBef>
            </a:pPr>
            <a:endParaRPr lang="en-US" dirty="0"/>
          </a:p>
          <a:p>
            <a:pPr>
              <a:lnSpc>
                <a:spcPts val="2880"/>
              </a:lnSpc>
              <a:spcBef>
                <a:spcPts val="1176"/>
              </a:spcBef>
            </a:pPr>
            <a:r>
              <a:rPr lang="en-US" dirty="0"/>
              <a:t>Problems carrying increased security and maintenance costs</a:t>
            </a:r>
          </a:p>
        </p:txBody>
      </p:sp>
      <p:sp>
        <p:nvSpPr>
          <p:cNvPr id="4" name="Rectangle 3"/>
          <p:cNvSpPr/>
          <p:nvPr/>
        </p:nvSpPr>
        <p:spPr>
          <a:xfrm>
            <a:off x="188686" y="6467706"/>
            <a:ext cx="7982856" cy="253916"/>
          </a:xfrm>
          <a:prstGeom prst="rect">
            <a:avLst/>
          </a:prstGeom>
        </p:spPr>
        <p:txBody>
          <a:bodyPr wrap="square">
            <a:spAutoFit/>
          </a:bodyPr>
          <a:lstStyle/>
          <a:p>
            <a:r>
              <a:rPr lang="en-US" sz="1050" baseline="30000" dirty="0">
                <a:solidFill>
                  <a:schemeClr val="bg1"/>
                </a:solidFill>
              </a:rPr>
              <a:t>1</a:t>
            </a:r>
            <a:r>
              <a:rPr lang="en-US" sz="1050" dirty="0">
                <a:solidFill>
                  <a:schemeClr val="bg1"/>
                </a:solidFill>
              </a:rPr>
              <a:t> Source: Paradoxes US PHCS Research, MS Internal, n=157, Jan 2014</a:t>
            </a:r>
          </a:p>
        </p:txBody>
      </p:sp>
      <p:sp>
        <p:nvSpPr>
          <p:cNvPr id="6" name="Freeform 5"/>
          <p:cNvSpPr>
            <a:spLocks/>
          </p:cNvSpPr>
          <p:nvPr/>
        </p:nvSpPr>
        <p:spPr bwMode="auto">
          <a:xfrm>
            <a:off x="252385" y="553933"/>
            <a:ext cx="2525539" cy="1226750"/>
          </a:xfrm>
          <a:custGeom>
            <a:avLst/>
            <a:gdLst>
              <a:gd name="T0" fmla="*/ 405 w 454"/>
              <a:gd name="T1" fmla="*/ 87 h 184"/>
              <a:gd name="T2" fmla="*/ 398 w 454"/>
              <a:gd name="T3" fmla="*/ 88 h 184"/>
              <a:gd name="T4" fmla="*/ 306 w 454"/>
              <a:gd name="T5" fmla="*/ 0 h 184"/>
              <a:gd name="T6" fmla="*/ 217 w 454"/>
              <a:gd name="T7" fmla="*/ 69 h 184"/>
              <a:gd name="T8" fmla="*/ 169 w 454"/>
              <a:gd name="T9" fmla="*/ 48 h 184"/>
              <a:gd name="T10" fmla="*/ 101 w 454"/>
              <a:gd name="T11" fmla="*/ 109 h 184"/>
              <a:gd name="T12" fmla="*/ 69 w 454"/>
              <a:gd name="T13" fmla="*/ 124 h 184"/>
              <a:gd name="T14" fmla="*/ 38 w 454"/>
              <a:gd name="T15" fmla="*/ 109 h 184"/>
              <a:gd name="T16" fmla="*/ 0 w 454"/>
              <a:gd name="T17" fmla="*/ 146 h 184"/>
              <a:gd name="T18" fmla="*/ 38 w 454"/>
              <a:gd name="T19" fmla="*/ 184 h 184"/>
              <a:gd name="T20" fmla="*/ 49 w 454"/>
              <a:gd name="T21" fmla="*/ 184 h 184"/>
              <a:gd name="T22" fmla="*/ 172 w 454"/>
              <a:gd name="T23" fmla="*/ 184 h 184"/>
              <a:gd name="T24" fmla="*/ 242 w 454"/>
              <a:gd name="T25" fmla="*/ 184 h 184"/>
              <a:gd name="T26" fmla="*/ 408 w 454"/>
              <a:gd name="T27" fmla="*/ 184 h 184"/>
              <a:gd name="T28" fmla="*/ 408 w 454"/>
              <a:gd name="T29" fmla="*/ 184 h 184"/>
              <a:gd name="T30" fmla="*/ 454 w 454"/>
              <a:gd name="T31" fmla="*/ 136 h 184"/>
              <a:gd name="T32" fmla="*/ 405 w 454"/>
              <a:gd name="T33" fmla="*/ 87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4" h="184">
                <a:moveTo>
                  <a:pt x="405" y="87"/>
                </a:moveTo>
                <a:cubicBezTo>
                  <a:pt x="403" y="87"/>
                  <a:pt x="400" y="87"/>
                  <a:pt x="398" y="88"/>
                </a:cubicBezTo>
                <a:cubicBezTo>
                  <a:pt x="395" y="39"/>
                  <a:pt x="355" y="0"/>
                  <a:pt x="306" y="0"/>
                </a:cubicBezTo>
                <a:cubicBezTo>
                  <a:pt x="263" y="0"/>
                  <a:pt x="228" y="29"/>
                  <a:pt x="217" y="69"/>
                </a:cubicBezTo>
                <a:cubicBezTo>
                  <a:pt x="205" y="56"/>
                  <a:pt x="188" y="48"/>
                  <a:pt x="169" y="48"/>
                </a:cubicBezTo>
                <a:cubicBezTo>
                  <a:pt x="134" y="48"/>
                  <a:pt x="105" y="75"/>
                  <a:pt x="101" y="109"/>
                </a:cubicBezTo>
                <a:cubicBezTo>
                  <a:pt x="89" y="111"/>
                  <a:pt x="78" y="116"/>
                  <a:pt x="69" y="124"/>
                </a:cubicBezTo>
                <a:cubicBezTo>
                  <a:pt x="62" y="115"/>
                  <a:pt x="51" y="109"/>
                  <a:pt x="38" y="109"/>
                </a:cubicBezTo>
                <a:cubicBezTo>
                  <a:pt x="17" y="109"/>
                  <a:pt x="0" y="126"/>
                  <a:pt x="0" y="146"/>
                </a:cubicBezTo>
                <a:cubicBezTo>
                  <a:pt x="0" y="167"/>
                  <a:pt x="17" y="184"/>
                  <a:pt x="38" y="184"/>
                </a:cubicBezTo>
                <a:cubicBezTo>
                  <a:pt x="49" y="184"/>
                  <a:pt x="49" y="184"/>
                  <a:pt x="49" y="184"/>
                </a:cubicBezTo>
                <a:cubicBezTo>
                  <a:pt x="172" y="184"/>
                  <a:pt x="172" y="184"/>
                  <a:pt x="172" y="184"/>
                </a:cubicBezTo>
                <a:cubicBezTo>
                  <a:pt x="242" y="184"/>
                  <a:pt x="242" y="184"/>
                  <a:pt x="242" y="184"/>
                </a:cubicBezTo>
                <a:cubicBezTo>
                  <a:pt x="408" y="184"/>
                  <a:pt x="408" y="184"/>
                  <a:pt x="408" y="184"/>
                </a:cubicBezTo>
                <a:cubicBezTo>
                  <a:pt x="408" y="184"/>
                  <a:pt x="408" y="184"/>
                  <a:pt x="408" y="184"/>
                </a:cubicBezTo>
                <a:cubicBezTo>
                  <a:pt x="434" y="182"/>
                  <a:pt x="454" y="161"/>
                  <a:pt x="454" y="136"/>
                </a:cubicBezTo>
                <a:cubicBezTo>
                  <a:pt x="454" y="109"/>
                  <a:pt x="432" y="87"/>
                  <a:pt x="405" y="8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1200" dirty="0"/>
          </a:p>
        </p:txBody>
      </p:sp>
      <p:sp>
        <p:nvSpPr>
          <p:cNvPr id="18" name="Content Placeholder 2"/>
          <p:cNvSpPr txBox="1">
            <a:spLocks/>
          </p:cNvSpPr>
          <p:nvPr/>
        </p:nvSpPr>
        <p:spPr>
          <a:xfrm>
            <a:off x="5324664" y="469902"/>
            <a:ext cx="648436" cy="529650"/>
          </a:xfrm>
          <a:prstGeom prst="rect">
            <a:avLst/>
          </a:prstGeom>
        </p:spPr>
        <p:txBody>
          <a:bodyPr vert="horz" wrap="square" lIns="143422" tIns="89639" rIns="143422" bIns="89639"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ts val="2880"/>
              </a:lnSpc>
              <a:spcBef>
                <a:spcPts val="1176"/>
              </a:spcBef>
            </a:pPr>
            <a:r>
              <a:rPr lang="en-US" dirty="0">
                <a:solidFill>
                  <a:schemeClr val="tx1"/>
                </a:solidFill>
                <a:latin typeface="Segoe UI bold"/>
                <a:cs typeface="Segoe UI bold"/>
              </a:rPr>
              <a:t>1</a:t>
            </a:r>
          </a:p>
        </p:txBody>
      </p:sp>
      <p:sp>
        <p:nvSpPr>
          <p:cNvPr id="19" name="Content Placeholder 2"/>
          <p:cNvSpPr txBox="1">
            <a:spLocks/>
          </p:cNvSpPr>
          <p:nvPr/>
        </p:nvSpPr>
        <p:spPr>
          <a:xfrm>
            <a:off x="5324664" y="1870992"/>
            <a:ext cx="648436" cy="550361"/>
          </a:xfrm>
          <a:prstGeom prst="rect">
            <a:avLst/>
          </a:prstGeom>
        </p:spPr>
        <p:txBody>
          <a:bodyPr vert="horz" wrap="square" lIns="143422" tIns="89639" rIns="143422" bIns="89639"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ts val="2880"/>
              </a:lnSpc>
              <a:spcBef>
                <a:spcPts val="1176"/>
              </a:spcBef>
            </a:pPr>
            <a:r>
              <a:rPr lang="en-US" dirty="0">
                <a:solidFill>
                  <a:schemeClr val="tx1"/>
                </a:solidFill>
                <a:latin typeface="Segoe UI bold"/>
                <a:cs typeface="Segoe UI bold"/>
              </a:rPr>
              <a:t>2</a:t>
            </a:r>
          </a:p>
        </p:txBody>
      </p:sp>
      <p:sp>
        <p:nvSpPr>
          <p:cNvPr id="20" name="Content Placeholder 2"/>
          <p:cNvSpPr txBox="1">
            <a:spLocks/>
          </p:cNvSpPr>
          <p:nvPr/>
        </p:nvSpPr>
        <p:spPr>
          <a:xfrm>
            <a:off x="5324664" y="3231120"/>
            <a:ext cx="648436" cy="550361"/>
          </a:xfrm>
          <a:prstGeom prst="rect">
            <a:avLst/>
          </a:prstGeom>
        </p:spPr>
        <p:txBody>
          <a:bodyPr vert="horz" wrap="square" lIns="143422" tIns="89639" rIns="143422" bIns="89639"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ts val="2880"/>
              </a:lnSpc>
              <a:spcBef>
                <a:spcPts val="1176"/>
              </a:spcBef>
            </a:pPr>
            <a:r>
              <a:rPr lang="en-US" dirty="0">
                <a:solidFill>
                  <a:schemeClr val="tx1"/>
                </a:solidFill>
                <a:latin typeface="Segoe UI bold"/>
                <a:cs typeface="Segoe UI bold"/>
              </a:rPr>
              <a:t>3</a:t>
            </a:r>
          </a:p>
        </p:txBody>
      </p:sp>
      <p:sp>
        <p:nvSpPr>
          <p:cNvPr id="21" name="Content Placeholder 2"/>
          <p:cNvSpPr txBox="1">
            <a:spLocks/>
          </p:cNvSpPr>
          <p:nvPr/>
        </p:nvSpPr>
        <p:spPr>
          <a:xfrm>
            <a:off x="5324664" y="4288087"/>
            <a:ext cx="648436" cy="550361"/>
          </a:xfrm>
          <a:prstGeom prst="rect">
            <a:avLst/>
          </a:prstGeom>
        </p:spPr>
        <p:txBody>
          <a:bodyPr vert="horz" wrap="square" lIns="143422" tIns="89639" rIns="143422" bIns="89639"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ts val="2880"/>
              </a:lnSpc>
              <a:spcBef>
                <a:spcPts val="1176"/>
              </a:spcBef>
            </a:pPr>
            <a:r>
              <a:rPr lang="en-US" dirty="0">
                <a:solidFill>
                  <a:schemeClr val="tx1"/>
                </a:solidFill>
                <a:latin typeface="Segoe UI bold"/>
                <a:cs typeface="Segoe UI bold"/>
              </a:rPr>
              <a:t>4</a:t>
            </a:r>
          </a:p>
        </p:txBody>
      </p:sp>
      <p:sp>
        <p:nvSpPr>
          <p:cNvPr id="22" name="Content Placeholder 2"/>
          <p:cNvSpPr txBox="1">
            <a:spLocks/>
          </p:cNvSpPr>
          <p:nvPr/>
        </p:nvSpPr>
        <p:spPr>
          <a:xfrm>
            <a:off x="5324664" y="5705569"/>
            <a:ext cx="648436" cy="550361"/>
          </a:xfrm>
          <a:prstGeom prst="rect">
            <a:avLst/>
          </a:prstGeom>
        </p:spPr>
        <p:txBody>
          <a:bodyPr vert="horz" wrap="square" lIns="143422" tIns="89639" rIns="143422" bIns="89639"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ts val="2880"/>
              </a:lnSpc>
              <a:spcBef>
                <a:spcPts val="1176"/>
              </a:spcBef>
            </a:pPr>
            <a:r>
              <a:rPr lang="en-US" dirty="0">
                <a:solidFill>
                  <a:schemeClr val="tx1"/>
                </a:solidFill>
                <a:latin typeface="Segoe UI bold"/>
                <a:cs typeface="Segoe UI bold"/>
              </a:rPr>
              <a:t>5</a:t>
            </a:r>
          </a:p>
        </p:txBody>
      </p:sp>
    </p:spTree>
    <p:extLst>
      <p:ext uri="{BB962C8B-B14F-4D97-AF65-F5344CB8AC3E}">
        <p14:creationId xmlns:p14="http://schemas.microsoft.com/office/powerpoint/2010/main" val="73668973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10137137" y="1338270"/>
            <a:ext cx="1605491" cy="4410267"/>
          </a:xfrm>
          <a:prstGeom prst="rect">
            <a:avLst/>
          </a:prstGeom>
          <a:solidFill>
            <a:srgbClr val="42424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2353" dirty="0">
                <a:gradFill>
                  <a:gsLst>
                    <a:gs pos="2917">
                      <a:srgbClr val="FFFFFF"/>
                    </a:gs>
                    <a:gs pos="100000">
                      <a:srgbClr val="FFFFFF"/>
                    </a:gs>
                  </a:gsLst>
                  <a:lin ang="5400000" scaled="0"/>
                </a:gradFill>
                <a:latin typeface="Segoe UI"/>
                <a:ea typeface="Segoe UI" pitchFamily="34" charset="0"/>
                <a:cs typeface="Segoe UI Semilight" panose="020B0402040204020203" pitchFamily="34" charset="0"/>
              </a:rPr>
              <a:t>Action</a:t>
            </a:r>
          </a:p>
        </p:txBody>
      </p:sp>
      <p:sp>
        <p:nvSpPr>
          <p:cNvPr id="5" name="Rectangle 4"/>
          <p:cNvSpPr/>
          <p:nvPr/>
        </p:nvSpPr>
        <p:spPr bwMode="auto">
          <a:xfrm>
            <a:off x="7986375" y="1337342"/>
            <a:ext cx="2160062" cy="4415551"/>
          </a:xfrm>
          <a:prstGeom prst="rect">
            <a:avLst/>
          </a:prstGeom>
          <a:solidFill>
            <a:schemeClr val="bg2">
              <a:lumMod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765" dirty="0">
                <a:solidFill>
                  <a:srgbClr val="FFFFFF"/>
                </a:solidFill>
                <a:latin typeface="Segoe UI"/>
                <a:ea typeface="Segoe UI" pitchFamily="34" charset="0"/>
                <a:cs typeface="Segoe UI Semilight" panose="020B0402040204020203" pitchFamily="34" charset="0"/>
              </a:rPr>
              <a:t>  </a:t>
            </a:r>
            <a:r>
              <a:rPr lang="en-US" sz="2353" dirty="0">
                <a:solidFill>
                  <a:srgbClr val="FFFFFF"/>
                </a:solidFill>
                <a:latin typeface="Segoe UI"/>
                <a:ea typeface="Segoe UI" pitchFamily="34" charset="0"/>
                <a:cs typeface="Segoe UI Semilight" panose="020B0402040204020203" pitchFamily="34" charset="0"/>
              </a:rPr>
              <a:t>Decision</a:t>
            </a:r>
          </a:p>
        </p:txBody>
      </p:sp>
      <p:sp>
        <p:nvSpPr>
          <p:cNvPr id="11" name="Pentagon 10"/>
          <p:cNvSpPr/>
          <p:nvPr/>
        </p:nvSpPr>
        <p:spPr bwMode="auto">
          <a:xfrm>
            <a:off x="4654843" y="4010056"/>
            <a:ext cx="3682221" cy="851604"/>
          </a:xfrm>
          <a:prstGeom prst="homePlate">
            <a:avLst>
              <a:gd name="adj" fmla="val 42873"/>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a:gradFill>
                <a:gsLst>
                  <a:gs pos="0">
                    <a:srgbClr val="FFFFFF"/>
                  </a:gs>
                  <a:gs pos="100000">
                    <a:srgbClr val="FFFFFF"/>
                  </a:gs>
                </a:gsLst>
                <a:lin ang="5400000" scaled="0"/>
              </a:gradFill>
              <a:latin typeface="Segoe UI"/>
              <a:ea typeface="Segoe UI" pitchFamily="34" charset="0"/>
              <a:cs typeface="Segoe UI Semilight" panose="020B0402040204020203" pitchFamily="34" charset="0"/>
            </a:endParaRPr>
          </a:p>
        </p:txBody>
      </p:sp>
      <p:sp>
        <p:nvSpPr>
          <p:cNvPr id="12" name="Pentagon 11"/>
          <p:cNvSpPr/>
          <p:nvPr/>
        </p:nvSpPr>
        <p:spPr bwMode="auto">
          <a:xfrm>
            <a:off x="1826181" y="4010056"/>
            <a:ext cx="4308940" cy="851604"/>
          </a:xfrm>
          <a:prstGeom prst="homePlate">
            <a:avLst>
              <a:gd name="adj" fmla="val 42873"/>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961" b="1" dirty="0">
                <a:gradFill>
                  <a:gsLst>
                    <a:gs pos="0">
                      <a:srgbClr val="FFFFFF"/>
                    </a:gs>
                    <a:gs pos="100000">
                      <a:srgbClr val="FFFFFF"/>
                    </a:gs>
                  </a:gsLst>
                  <a:lin ang="5400000" scaled="0"/>
                </a:gradFill>
                <a:latin typeface="Segoe UI"/>
                <a:ea typeface="Segoe UI" pitchFamily="34" charset="0"/>
                <a:cs typeface="Segoe UI Semilight" panose="020B0402040204020203" pitchFamily="34" charset="0"/>
              </a:rPr>
              <a:t>Why did it happen?</a:t>
            </a:r>
          </a:p>
          <a:p>
            <a:pPr defTabSz="914102" fontAlgn="base">
              <a:lnSpc>
                <a:spcPct val="90000"/>
              </a:lnSpc>
              <a:spcBef>
                <a:spcPct val="0"/>
              </a:spcBef>
              <a:spcAft>
                <a:spcPct val="0"/>
              </a:spcAft>
              <a:defRPr/>
            </a:pPr>
            <a:r>
              <a:rPr lang="en-US" sz="1961" b="1" kern="0" dirty="0">
                <a:gradFill>
                  <a:gsLst>
                    <a:gs pos="0">
                      <a:srgbClr val="FFFFFF"/>
                    </a:gs>
                    <a:gs pos="100000">
                      <a:srgbClr val="FFFFFF"/>
                    </a:gs>
                  </a:gsLst>
                  <a:lin ang="5400000" scaled="0"/>
                </a:gradFill>
                <a:latin typeface="Segoe UI"/>
                <a:ea typeface="Segoe UI" pitchFamily="34" charset="0"/>
                <a:cs typeface="Segoe UI Semilight" panose="020B0402040204020203" pitchFamily="34" charset="0"/>
              </a:rPr>
              <a:t>{Interactive Dashboards)</a:t>
            </a:r>
            <a:r>
              <a:rPr lang="en-US" sz="1961" b="1" dirty="0">
                <a:gradFill>
                  <a:gsLst>
                    <a:gs pos="0">
                      <a:srgbClr val="FFFFFF"/>
                    </a:gs>
                    <a:gs pos="100000">
                      <a:srgbClr val="FFFFFF"/>
                    </a:gs>
                  </a:gsLst>
                  <a:lin ang="5400000" scaled="0"/>
                </a:gradFill>
                <a:latin typeface="Segoe UI"/>
                <a:ea typeface="Segoe UI" pitchFamily="34" charset="0"/>
                <a:cs typeface="Segoe UI Semilight" panose="020B0402040204020203" pitchFamily="34" charset="0"/>
              </a:rPr>
              <a:t> </a:t>
            </a:r>
          </a:p>
        </p:txBody>
      </p:sp>
      <p:sp>
        <p:nvSpPr>
          <p:cNvPr id="13" name="Pentagon 12"/>
          <p:cNvSpPr/>
          <p:nvPr/>
        </p:nvSpPr>
        <p:spPr bwMode="auto">
          <a:xfrm>
            <a:off x="6255530" y="3118824"/>
            <a:ext cx="2081534" cy="851604"/>
          </a:xfrm>
          <a:prstGeom prst="homePlate">
            <a:avLst>
              <a:gd name="adj" fmla="val 42873"/>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a:gradFill>
                <a:gsLst>
                  <a:gs pos="0">
                    <a:srgbClr val="FFFFFF"/>
                  </a:gs>
                  <a:gs pos="100000">
                    <a:srgbClr val="FFFFFF"/>
                  </a:gs>
                </a:gsLst>
                <a:lin ang="5400000" scaled="0"/>
              </a:gradFill>
              <a:latin typeface="Segoe UI"/>
              <a:ea typeface="Segoe UI" pitchFamily="34" charset="0"/>
              <a:cs typeface="Segoe UI Semilight" panose="020B0402040204020203" pitchFamily="34" charset="0"/>
            </a:endParaRPr>
          </a:p>
        </p:txBody>
      </p:sp>
      <p:sp>
        <p:nvSpPr>
          <p:cNvPr id="14" name="Pentagon 13"/>
          <p:cNvSpPr/>
          <p:nvPr/>
        </p:nvSpPr>
        <p:spPr bwMode="auto">
          <a:xfrm>
            <a:off x="1826180" y="3118824"/>
            <a:ext cx="5614458" cy="851604"/>
          </a:xfrm>
          <a:prstGeom prst="homePlate">
            <a:avLst>
              <a:gd name="adj" fmla="val 42873"/>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961" b="1" dirty="0">
                <a:gradFill>
                  <a:gsLst>
                    <a:gs pos="0">
                      <a:srgbClr val="FFFFFF"/>
                    </a:gs>
                    <a:gs pos="100000">
                      <a:srgbClr val="FFFFFF"/>
                    </a:gs>
                  </a:gsLst>
                  <a:lin ang="5400000" scaled="0"/>
                </a:gradFill>
                <a:latin typeface="Segoe UI"/>
                <a:ea typeface="Segoe UI" pitchFamily="34" charset="0"/>
                <a:cs typeface="Segoe UI Semilight" panose="020B0402040204020203" pitchFamily="34" charset="0"/>
              </a:rPr>
              <a:t>What might happen? </a:t>
            </a:r>
          </a:p>
          <a:p>
            <a:pPr defTabSz="914102" fontAlgn="base">
              <a:lnSpc>
                <a:spcPct val="90000"/>
              </a:lnSpc>
              <a:spcBef>
                <a:spcPct val="0"/>
              </a:spcBef>
              <a:spcAft>
                <a:spcPct val="0"/>
              </a:spcAft>
              <a:defRPr/>
            </a:pPr>
            <a:r>
              <a:rPr lang="en-US" sz="1961" b="1" kern="0" dirty="0">
                <a:gradFill>
                  <a:gsLst>
                    <a:gs pos="0">
                      <a:srgbClr val="FFFFFF"/>
                    </a:gs>
                    <a:gs pos="100000">
                      <a:srgbClr val="FFFFFF"/>
                    </a:gs>
                  </a:gsLst>
                  <a:lin ang="5400000" scaled="0"/>
                </a:gradFill>
                <a:latin typeface="Segoe UI"/>
                <a:ea typeface="Segoe UI" pitchFamily="34" charset="0"/>
                <a:cs typeface="Segoe UI Semilight" panose="020B0402040204020203" pitchFamily="34" charset="0"/>
              </a:rPr>
              <a:t>(Predictive Models)</a:t>
            </a:r>
            <a:endParaRPr lang="en-US" sz="1961" b="1" dirty="0">
              <a:gradFill>
                <a:gsLst>
                  <a:gs pos="0">
                    <a:srgbClr val="FFFFFF"/>
                  </a:gs>
                  <a:gs pos="100000">
                    <a:srgbClr val="FFFFFF"/>
                  </a:gs>
                </a:gsLst>
                <a:lin ang="5400000" scaled="0"/>
              </a:gradFill>
              <a:latin typeface="Segoe UI"/>
              <a:ea typeface="Segoe UI" pitchFamily="34" charset="0"/>
              <a:cs typeface="Segoe UI Semilight" panose="020B0402040204020203" pitchFamily="34" charset="0"/>
            </a:endParaRPr>
          </a:p>
        </p:txBody>
      </p:sp>
      <p:sp>
        <p:nvSpPr>
          <p:cNvPr id="15" name="Pentagon 14"/>
          <p:cNvSpPr/>
          <p:nvPr/>
        </p:nvSpPr>
        <p:spPr bwMode="auto">
          <a:xfrm>
            <a:off x="1826181" y="2228801"/>
            <a:ext cx="7407307" cy="851604"/>
          </a:xfrm>
          <a:prstGeom prst="homePlate">
            <a:avLst>
              <a:gd name="adj" fmla="val 42873"/>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a:gradFill>
                <a:gsLst>
                  <a:gs pos="0">
                    <a:srgbClr val="FFFFFF"/>
                  </a:gs>
                  <a:gs pos="100000">
                    <a:srgbClr val="FFFFFF"/>
                  </a:gs>
                </a:gsLst>
                <a:lin ang="5400000" scaled="0"/>
              </a:gradFill>
              <a:latin typeface="Segoe UI"/>
              <a:ea typeface="Segoe UI" pitchFamily="34" charset="0"/>
              <a:cs typeface="Segoe UI Semilight" panose="020B0402040204020203" pitchFamily="34" charset="0"/>
            </a:endParaRPr>
          </a:p>
        </p:txBody>
      </p:sp>
      <p:sp>
        <p:nvSpPr>
          <p:cNvPr id="16" name="Pentagon 15"/>
          <p:cNvSpPr/>
          <p:nvPr/>
        </p:nvSpPr>
        <p:spPr bwMode="auto">
          <a:xfrm>
            <a:off x="1826179" y="1337342"/>
            <a:ext cx="9200159" cy="896425"/>
          </a:xfrm>
          <a:prstGeom prst="homePlate">
            <a:avLst>
              <a:gd name="adj" fmla="val 42873"/>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a:gradFill>
                <a:gsLst>
                  <a:gs pos="0">
                    <a:srgbClr val="FFFFFF"/>
                  </a:gs>
                  <a:gs pos="100000">
                    <a:srgbClr val="FFFFFF"/>
                  </a:gs>
                </a:gsLst>
                <a:lin ang="5400000" scaled="0"/>
              </a:gradFill>
              <a:latin typeface="Segoe UI"/>
              <a:ea typeface="Segoe UI" pitchFamily="34" charset="0"/>
              <a:cs typeface="Segoe UI Semilight" panose="020B0402040204020203" pitchFamily="34" charset="0"/>
            </a:endParaRPr>
          </a:p>
        </p:txBody>
      </p:sp>
      <p:sp>
        <p:nvSpPr>
          <p:cNvPr id="18" name="Rectangle 17"/>
          <p:cNvSpPr/>
          <p:nvPr/>
        </p:nvSpPr>
        <p:spPr bwMode="auto">
          <a:xfrm>
            <a:off x="1826181" y="1337343"/>
            <a:ext cx="4034842" cy="1743063"/>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961" b="1" dirty="0">
                <a:gradFill>
                  <a:gsLst>
                    <a:gs pos="0">
                      <a:srgbClr val="FFFFFF"/>
                    </a:gs>
                    <a:gs pos="100000">
                      <a:srgbClr val="FFFFFF"/>
                    </a:gs>
                  </a:gsLst>
                  <a:lin ang="5400000" scaled="0"/>
                </a:gradFill>
                <a:latin typeface="Segoe UI"/>
                <a:ea typeface="Segoe UI" pitchFamily="34" charset="0"/>
                <a:cs typeface="Segoe UI Semilight" panose="020B0402040204020203" pitchFamily="34" charset="0"/>
              </a:rPr>
              <a:t>What should I do? </a:t>
            </a:r>
          </a:p>
        </p:txBody>
      </p:sp>
      <p:sp>
        <p:nvSpPr>
          <p:cNvPr id="20" name="TextBox 19"/>
          <p:cNvSpPr txBox="1"/>
          <p:nvPr/>
        </p:nvSpPr>
        <p:spPr>
          <a:xfrm>
            <a:off x="6320106" y="1559627"/>
            <a:ext cx="1678604" cy="561211"/>
          </a:xfrm>
          <a:prstGeom prst="rect">
            <a:avLst/>
          </a:prstGeom>
          <a:solidFill>
            <a:srgbClr val="00B0F0"/>
          </a:solidFill>
        </p:spPr>
        <p:txBody>
          <a:bodyPr wrap="none" lIns="179285" tIns="143428" rIns="179285" bIns="143428" rtlCol="0">
            <a:spAutoFit/>
          </a:bodyPr>
          <a:lstStyle/>
          <a:p>
            <a:pPr defTabSz="914102" fontAlgn="base">
              <a:lnSpc>
                <a:spcPct val="90000"/>
              </a:lnSpc>
              <a:spcBef>
                <a:spcPct val="0"/>
              </a:spcBef>
              <a:spcAft>
                <a:spcPct val="0"/>
              </a:spcAft>
              <a:defRPr/>
            </a:pPr>
            <a:r>
              <a:rPr lang="en-US" sz="1961" dirty="0">
                <a:gradFill>
                  <a:gsLst>
                    <a:gs pos="0">
                      <a:srgbClr val="FFFFFF"/>
                    </a:gs>
                    <a:gs pos="100000">
                      <a:srgbClr val="FFFFFF"/>
                    </a:gs>
                  </a:gsLst>
                  <a:lin ang="5400000" scaled="0"/>
                </a:gradFill>
                <a:latin typeface="Segoe UI"/>
                <a:ea typeface="Segoe UI" pitchFamily="34" charset="0"/>
                <a:cs typeface="Segoe UI Semilight" panose="020B0402040204020203" pitchFamily="34" charset="0"/>
              </a:rPr>
              <a:t>Automation</a:t>
            </a:r>
            <a:endParaRPr lang="en-US" sz="2353" dirty="0">
              <a:gradFill>
                <a:gsLst>
                  <a:gs pos="0">
                    <a:srgbClr val="FFFFFF"/>
                  </a:gs>
                  <a:gs pos="100000">
                    <a:srgbClr val="FFFFFF"/>
                  </a:gs>
                </a:gsLst>
                <a:lin ang="5400000" scaled="0"/>
              </a:gradFill>
              <a:latin typeface="Segoe UI"/>
              <a:ea typeface="Segoe UI" pitchFamily="34" charset="0"/>
              <a:cs typeface="Segoe UI Semilight" panose="020B0402040204020203" pitchFamily="34" charset="0"/>
            </a:endParaRPr>
          </a:p>
        </p:txBody>
      </p:sp>
      <p:sp>
        <p:nvSpPr>
          <p:cNvPr id="19" name="TextBox 18"/>
          <p:cNvSpPr txBox="1"/>
          <p:nvPr/>
        </p:nvSpPr>
        <p:spPr>
          <a:xfrm>
            <a:off x="6320107" y="2427268"/>
            <a:ext cx="2322602" cy="561211"/>
          </a:xfrm>
          <a:prstGeom prst="rect">
            <a:avLst/>
          </a:prstGeom>
          <a:noFill/>
        </p:spPr>
        <p:txBody>
          <a:bodyPr wrap="none" lIns="179285" tIns="143428" rIns="179285" bIns="143428" rtlCol="0">
            <a:spAutoFit/>
          </a:bodyPr>
          <a:lstStyle/>
          <a:p>
            <a:pPr defTabSz="914102" fontAlgn="base">
              <a:lnSpc>
                <a:spcPct val="90000"/>
              </a:lnSpc>
              <a:spcBef>
                <a:spcPct val="0"/>
              </a:spcBef>
              <a:spcAft>
                <a:spcPct val="0"/>
              </a:spcAft>
              <a:defRPr/>
            </a:pPr>
            <a:r>
              <a:rPr lang="en-US" sz="1961" dirty="0">
                <a:gradFill>
                  <a:gsLst>
                    <a:gs pos="0">
                      <a:srgbClr val="FFFFFF"/>
                    </a:gs>
                    <a:gs pos="100000">
                      <a:srgbClr val="FFFFFF"/>
                    </a:gs>
                  </a:gsLst>
                  <a:lin ang="5400000" scaled="0"/>
                </a:gradFill>
                <a:latin typeface="Segoe UI"/>
                <a:ea typeface="Segoe UI" pitchFamily="34" charset="0"/>
                <a:cs typeface="Segoe UI Semilight" panose="020B0402040204020203" pitchFamily="34" charset="0"/>
              </a:rPr>
              <a:t>Recommendation</a:t>
            </a:r>
            <a:endParaRPr lang="en-US" sz="2353" dirty="0">
              <a:gradFill>
                <a:gsLst>
                  <a:gs pos="0">
                    <a:srgbClr val="FFFFFF"/>
                  </a:gs>
                  <a:gs pos="100000">
                    <a:srgbClr val="FFFFFF"/>
                  </a:gs>
                </a:gsLst>
                <a:lin ang="5400000" scaled="0"/>
              </a:gradFill>
              <a:latin typeface="Segoe UI"/>
              <a:ea typeface="Segoe UI" pitchFamily="34" charset="0"/>
              <a:cs typeface="Segoe UI Semilight" panose="020B0402040204020203" pitchFamily="34" charset="0"/>
            </a:endParaRPr>
          </a:p>
        </p:txBody>
      </p:sp>
      <p:sp>
        <p:nvSpPr>
          <p:cNvPr id="3" name="Rectangle 2"/>
          <p:cNvSpPr/>
          <p:nvPr/>
        </p:nvSpPr>
        <p:spPr bwMode="auto">
          <a:xfrm>
            <a:off x="460282" y="1337342"/>
            <a:ext cx="1394316" cy="441555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2353" dirty="0">
                <a:gradFill>
                  <a:gsLst>
                    <a:gs pos="0">
                      <a:srgbClr val="FFFFFF"/>
                    </a:gs>
                    <a:gs pos="100000">
                      <a:srgbClr val="FFFFFF"/>
                    </a:gs>
                  </a:gsLst>
                  <a:lin ang="5400000" scaled="0"/>
                </a:gradFill>
                <a:latin typeface="Segoe UI"/>
                <a:ea typeface="Segoe UI" pitchFamily="34" charset="0"/>
                <a:cs typeface="Segoe UI Semilight" panose="020B0402040204020203" pitchFamily="34" charset="0"/>
              </a:rPr>
              <a:t>Data</a:t>
            </a:r>
          </a:p>
        </p:txBody>
      </p:sp>
      <p:sp>
        <p:nvSpPr>
          <p:cNvPr id="10" name="Pentagon 9"/>
          <p:cNvSpPr/>
          <p:nvPr/>
        </p:nvSpPr>
        <p:spPr bwMode="auto">
          <a:xfrm>
            <a:off x="3688614" y="4901289"/>
            <a:ext cx="4648273" cy="851604"/>
          </a:xfrm>
          <a:prstGeom prst="homePlate">
            <a:avLst>
              <a:gd name="adj" fmla="val 42873"/>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a:gradFill>
                <a:gsLst>
                  <a:gs pos="0">
                    <a:srgbClr val="FFFFFF"/>
                  </a:gs>
                  <a:gs pos="100000">
                    <a:srgbClr val="FFFFFF"/>
                  </a:gs>
                </a:gsLst>
                <a:lin ang="5400000" scaled="0"/>
              </a:gradFill>
              <a:latin typeface="Segoe UI"/>
              <a:ea typeface="Segoe UI" pitchFamily="34" charset="0"/>
              <a:cs typeface="Segoe UI Semilight" panose="020B0402040204020203" pitchFamily="34" charset="0"/>
            </a:endParaRPr>
          </a:p>
        </p:txBody>
      </p:sp>
      <p:sp>
        <p:nvSpPr>
          <p:cNvPr id="9" name="Pentagon 8"/>
          <p:cNvSpPr/>
          <p:nvPr/>
        </p:nvSpPr>
        <p:spPr bwMode="auto">
          <a:xfrm>
            <a:off x="1854598" y="4901289"/>
            <a:ext cx="2892290" cy="851604"/>
          </a:xfrm>
          <a:prstGeom prst="homePlate">
            <a:avLst>
              <a:gd name="adj" fmla="val 42873"/>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961" b="1" dirty="0">
                <a:gradFill>
                  <a:gsLst>
                    <a:gs pos="0">
                      <a:srgbClr val="FFFFFF"/>
                    </a:gs>
                    <a:gs pos="100000">
                      <a:srgbClr val="FFFFFF"/>
                    </a:gs>
                  </a:gsLst>
                  <a:lin ang="5400000" scaled="0"/>
                </a:gradFill>
                <a:latin typeface="Segoe UI"/>
                <a:ea typeface="Segoe UI" pitchFamily="34" charset="0"/>
                <a:cs typeface="Segoe UI Semilight" panose="020B0402040204020203" pitchFamily="34" charset="0"/>
              </a:rPr>
              <a:t>What happened?</a:t>
            </a:r>
          </a:p>
          <a:p>
            <a:pPr defTabSz="914102" fontAlgn="base">
              <a:lnSpc>
                <a:spcPct val="90000"/>
              </a:lnSpc>
              <a:spcBef>
                <a:spcPct val="0"/>
              </a:spcBef>
              <a:spcAft>
                <a:spcPct val="0"/>
              </a:spcAft>
              <a:defRPr/>
            </a:pPr>
            <a:r>
              <a:rPr lang="en-US" sz="1961" b="1" kern="0" dirty="0">
                <a:gradFill>
                  <a:gsLst>
                    <a:gs pos="0">
                      <a:srgbClr val="FFFFFF"/>
                    </a:gs>
                    <a:gs pos="100000">
                      <a:srgbClr val="FFFFFF"/>
                    </a:gs>
                  </a:gsLst>
                  <a:lin ang="5400000" scaled="0"/>
                </a:gradFill>
                <a:latin typeface="Segoe UI"/>
                <a:ea typeface="Segoe UI" pitchFamily="34" charset="0"/>
                <a:cs typeface="Segoe UI Semilight" panose="020B0402040204020203" pitchFamily="34" charset="0"/>
              </a:rPr>
              <a:t>(Reports)</a:t>
            </a:r>
            <a:endParaRPr lang="en-US" sz="1961" b="1" dirty="0">
              <a:gradFill>
                <a:gsLst>
                  <a:gs pos="0">
                    <a:srgbClr val="FFFFFF"/>
                  </a:gs>
                  <a:gs pos="100000">
                    <a:srgbClr val="FFFFFF"/>
                  </a:gs>
                </a:gsLst>
                <a:lin ang="5400000" scaled="0"/>
              </a:gradFill>
              <a:latin typeface="Segoe UI"/>
              <a:ea typeface="Segoe UI" pitchFamily="34" charset="0"/>
              <a:cs typeface="Segoe UI Semilight" panose="020B0402040204020203" pitchFamily="34" charset="0"/>
            </a:endParaRPr>
          </a:p>
        </p:txBody>
      </p:sp>
      <p:sp>
        <p:nvSpPr>
          <p:cNvPr id="8" name="TextBox 7"/>
          <p:cNvSpPr txBox="1"/>
          <p:nvPr/>
        </p:nvSpPr>
        <p:spPr>
          <a:xfrm>
            <a:off x="5186943" y="5110874"/>
            <a:ext cx="3297183" cy="561211"/>
          </a:xfrm>
          <a:prstGeom prst="rect">
            <a:avLst/>
          </a:prstGeom>
          <a:noFill/>
        </p:spPr>
        <p:txBody>
          <a:bodyPr wrap="square" lIns="179285" tIns="143428" rIns="179285" bIns="143428" rtlCol="0">
            <a:spAutoFit/>
          </a:bodyPr>
          <a:lstStyle/>
          <a:p>
            <a:pPr defTabSz="914367">
              <a:lnSpc>
                <a:spcPct val="90000"/>
              </a:lnSpc>
              <a:spcAft>
                <a:spcPts val="588"/>
              </a:spcAft>
              <a:defRPr/>
            </a:pPr>
            <a:r>
              <a:rPr lang="en-US" sz="1961" dirty="0">
                <a:gradFill>
                  <a:gsLst>
                    <a:gs pos="2917">
                      <a:srgbClr val="FFFFFF"/>
                    </a:gs>
                    <a:gs pos="30000">
                      <a:srgbClr val="FFFFFF"/>
                    </a:gs>
                  </a:gsLst>
                  <a:lin ang="5400000" scaled="0"/>
                </a:gradFill>
                <a:latin typeface="Segoe UI"/>
                <a:cs typeface="Segoe UI Semilight" panose="020B0402040204020203" pitchFamily="34" charset="0"/>
              </a:rPr>
              <a:t>People &amp; Insights</a:t>
            </a:r>
          </a:p>
        </p:txBody>
      </p:sp>
      <p:sp>
        <p:nvSpPr>
          <p:cNvPr id="7" name="Title 6"/>
          <p:cNvSpPr>
            <a:spLocks noGrp="1"/>
          </p:cNvSpPr>
          <p:nvPr>
            <p:ph type="title" idx="4294967295"/>
          </p:nvPr>
        </p:nvSpPr>
        <p:spPr>
          <a:xfrm>
            <a:off x="536923" y="289958"/>
            <a:ext cx="11655078" cy="899537"/>
          </a:xfrm>
        </p:spPr>
        <p:txBody>
          <a:bodyPr/>
          <a:lstStyle/>
          <a:p>
            <a:r>
              <a:rPr lang="en-US" dirty="0"/>
              <a:t>Big Data + Predictive Analytics = Business Value</a:t>
            </a:r>
          </a:p>
        </p:txBody>
      </p:sp>
    </p:spTree>
    <p:extLst>
      <p:ext uri="{BB962C8B-B14F-4D97-AF65-F5344CB8AC3E}">
        <p14:creationId xmlns:p14="http://schemas.microsoft.com/office/powerpoint/2010/main" val="367906922"/>
      </p:ext>
    </p:extLst>
  </p:cSld>
  <p:clrMapOvr>
    <a:masterClrMapping/>
  </p:clrMapOvr>
  <p:transition spd="slow">
    <p:push dir="u"/>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cstate="print">
            <a:grayscl/>
            <a:extLst>
              <a:ext uri="{28A0092B-C50C-407E-A947-70E740481C1C}">
                <a14:useLocalDpi xmlns:a14="http://schemas.microsoft.com/office/drawing/2010/main" val="0"/>
              </a:ext>
            </a:extLst>
          </a:blip>
          <a:srcRect t="2334"/>
          <a:stretch/>
        </p:blipFill>
        <p:spPr>
          <a:xfrm>
            <a:off x="5003909" y="1401595"/>
            <a:ext cx="7187226" cy="5006538"/>
          </a:xfrm>
          <a:prstGeom prst="rect">
            <a:avLst/>
          </a:prstGeom>
        </p:spPr>
      </p:pic>
      <p:sp>
        <p:nvSpPr>
          <p:cNvPr id="18" name="Title 1"/>
          <p:cNvSpPr txBox="1">
            <a:spLocks/>
          </p:cNvSpPr>
          <p:nvPr/>
        </p:nvSpPr>
        <p:spPr>
          <a:xfrm>
            <a:off x="-723" y="-4713"/>
            <a:ext cx="12191859" cy="822954"/>
          </a:xfrm>
          <a:prstGeom prst="rect">
            <a:avLst/>
          </a:prstGeom>
          <a:solidFill>
            <a:schemeClr val="tx1">
              <a:lumMod val="75000"/>
            </a:schemeClr>
          </a:solidFill>
          <a:effectLst/>
        </p:spPr>
        <p:txBody>
          <a:bodyPr lIns="319994" tIns="45704" rIns="91411" bIns="45704" anchor="ctr"/>
          <a:lstStyle>
            <a:lvl1pPr algn="ctr" defTabSz="914400" rtl="0" eaLnBrk="1" latinLnBrk="0" hangingPunct="1">
              <a:lnSpc>
                <a:spcPts val="3800"/>
              </a:lnSpc>
              <a:spcBef>
                <a:spcPct val="0"/>
              </a:spcBef>
              <a:buNone/>
              <a:defRPr sz="2800" b="1" i="1" kern="1200" spc="300" baseline="0">
                <a:solidFill>
                  <a:schemeClr val="accent3"/>
                </a:solidFill>
                <a:latin typeface="+mn-lt"/>
                <a:ea typeface="+mj-ea"/>
                <a:cs typeface="+mj-cs"/>
              </a:defRPr>
            </a:lvl1pPr>
          </a:lstStyle>
          <a:p>
            <a:pPr marL="0" marR="0" lvl="0" indent="0" algn="l" defTabSz="896386" rtl="0" eaLnBrk="1" fontAlgn="auto" latinLnBrk="0" hangingPunct="1">
              <a:lnSpc>
                <a:spcPts val="3500"/>
              </a:lnSpc>
              <a:spcBef>
                <a:spcPct val="0"/>
              </a:spcBef>
              <a:spcAft>
                <a:spcPts val="0"/>
              </a:spcAft>
              <a:buClrTx/>
              <a:buSzTx/>
              <a:buFontTx/>
              <a:buNone/>
              <a:tabLst/>
              <a:defRPr/>
            </a:pPr>
            <a:r>
              <a:rPr kumimoji="0" lang="en-US" sz="2000" b="1" i="0" u="none" strike="noStrike" kern="900" cap="none" spc="294" normalizeH="0" baseline="0" noProof="0" dirty="0">
                <a:ln>
                  <a:noFill/>
                </a:ln>
                <a:solidFill>
                  <a:srgbClr val="FFFFFF"/>
                </a:solidFill>
                <a:effectLst/>
                <a:uLnTx/>
                <a:uFillTx/>
                <a:latin typeface="Segoe UI Semilight"/>
                <a:ea typeface="+mj-ea"/>
                <a:cs typeface="+mj-cs"/>
              </a:rPr>
              <a:t>Modern Educational Institution</a:t>
            </a:r>
          </a:p>
        </p:txBody>
      </p:sp>
      <p:sp>
        <p:nvSpPr>
          <p:cNvPr id="19" name="Rectangle 18"/>
          <p:cNvSpPr/>
          <p:nvPr/>
        </p:nvSpPr>
        <p:spPr bwMode="auto">
          <a:xfrm>
            <a:off x="2688053" y="3279596"/>
            <a:ext cx="2011394" cy="1938253"/>
          </a:xfrm>
          <a:prstGeom prst="rect">
            <a:avLst/>
          </a:prstGeom>
          <a:solidFill>
            <a:srgbClr val="00B0F0">
              <a:alpha val="90000"/>
            </a:srgb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37141" tIns="137141" rIns="137141" bIns="137141" numCol="1" rtlCol="0" anchor="t" anchorCtr="0" compatLnSpc="1">
            <a:prstTxWarp prst="textNoShape">
              <a:avLst/>
            </a:prstTxWarp>
          </a:bodyPr>
          <a:lstStyle/>
          <a:p>
            <a:pPr marL="0" marR="0" lvl="0" indent="0" algn="l" defTabSz="913924" rtl="0" eaLnBrk="1" fontAlgn="base" latinLnBrk="0" hangingPunct="1">
              <a:lnSpc>
                <a:spcPct val="100000"/>
              </a:lnSpc>
              <a:spcBef>
                <a:spcPct val="0"/>
              </a:spcBef>
              <a:spcAft>
                <a:spcPts val="120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Segoe UI Semilight"/>
                <a:ea typeface="Segoe UI" panose="020B0502040204020203" pitchFamily="34" charset="0"/>
                <a:cs typeface="Segoe UI" panose="020B0502040204020203" pitchFamily="34" charset="0"/>
              </a:rPr>
              <a:t>Deliver a</a:t>
            </a:r>
            <a:br>
              <a:rPr kumimoji="0" lang="en-US" sz="1600" b="0" i="0" u="none" strike="noStrike" kern="1200" cap="none" spc="0" normalizeH="0" baseline="0" noProof="0" dirty="0">
                <a:ln>
                  <a:noFill/>
                </a:ln>
                <a:solidFill>
                  <a:prstClr val="white"/>
                </a:solidFill>
                <a:effectLst/>
                <a:uLnTx/>
                <a:uFillTx/>
                <a:latin typeface="Segoe UI Semilight"/>
                <a:ea typeface="Segoe UI" panose="020B0502040204020203" pitchFamily="34" charset="0"/>
                <a:cs typeface="Segoe UI" panose="020B0502040204020203" pitchFamily="34" charset="0"/>
              </a:rPr>
            </a:br>
            <a:r>
              <a:rPr kumimoji="0" lang="en-US" sz="1600" b="0" i="0" u="none" strike="noStrike" kern="1200" cap="none" spc="0" normalizeH="0" baseline="0" noProof="0" dirty="0">
                <a:ln>
                  <a:noFill/>
                </a:ln>
                <a:solidFill>
                  <a:prstClr val="white"/>
                </a:solidFill>
                <a:effectLst/>
                <a:uLnTx/>
                <a:uFillTx/>
                <a:latin typeface="Segoe UI Semilight"/>
                <a:ea typeface="Segoe UI" panose="020B0502040204020203" pitchFamily="34" charset="0"/>
                <a:cs typeface="Segoe UI" panose="020B0502040204020203" pitchFamily="34" charset="0"/>
              </a:rPr>
              <a:t>first-class learning experience with collaborative tools that </a:t>
            </a:r>
            <a:r>
              <a:rPr kumimoji="0" lang="en-US" sz="1600" b="1" i="0" u="none" strike="noStrike" kern="1200" cap="none" spc="0" normalizeH="0" baseline="0" noProof="0" dirty="0">
                <a:ln>
                  <a:noFill/>
                </a:ln>
                <a:solidFill>
                  <a:prstClr val="white"/>
                </a:solidFill>
                <a:effectLst/>
                <a:uLnTx/>
                <a:uFillTx/>
                <a:latin typeface="Segoe UI Semilight"/>
                <a:ea typeface="Segoe UI" panose="020B0502040204020203" pitchFamily="34" charset="0"/>
                <a:cs typeface="Segoe UI" panose="020B0502040204020203" pitchFamily="34" charset="0"/>
              </a:rPr>
              <a:t>engage students, staff, and faculty</a:t>
            </a:r>
          </a:p>
        </p:txBody>
      </p:sp>
      <p:sp>
        <p:nvSpPr>
          <p:cNvPr id="20" name="Rectangle 19"/>
          <p:cNvSpPr/>
          <p:nvPr/>
        </p:nvSpPr>
        <p:spPr bwMode="auto">
          <a:xfrm>
            <a:off x="376848" y="1187938"/>
            <a:ext cx="2011394" cy="1938253"/>
          </a:xfrm>
          <a:prstGeom prst="rect">
            <a:avLst/>
          </a:prstGeom>
          <a:solidFill>
            <a:srgbClr val="00B0F0">
              <a:alpha val="90000"/>
            </a:srgb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37141" tIns="137141" rIns="137141" bIns="137141" numCol="1" rtlCol="0" anchor="t" anchorCtr="0" compatLnSpc="1">
            <a:prstTxWarp prst="textNoShape">
              <a:avLst/>
            </a:prstTxWarp>
          </a:bodyPr>
          <a:lstStyle/>
          <a:p>
            <a:pPr marL="0" marR="0" lvl="0" indent="0" algn="l" defTabSz="913924" rtl="0" eaLnBrk="1" fontAlgn="base" latinLnBrk="0" hangingPunct="1">
              <a:lnSpc>
                <a:spcPct val="100000"/>
              </a:lnSpc>
              <a:spcBef>
                <a:spcPct val="0"/>
              </a:spcBef>
              <a:spcAft>
                <a:spcPts val="120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rPr>
              <a:t>Gain insights</a:t>
            </a:r>
            <a:br>
              <a:rPr kumimoji="0" lang="en-US" sz="1600" b="1" i="0" u="none" strike="noStrike" kern="1200" cap="none" spc="0" normalizeH="0" baseline="0" noProof="0" dirty="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rPr>
            </a:br>
            <a:r>
              <a:rPr kumimoji="0" lang="en-US" sz="1600" b="0" i="0" u="none" strike="noStrike" kern="1200" cap="none" spc="0" normalizeH="0" baseline="0" noProof="0" dirty="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rPr>
              <a:t>into student demographics, staff performance, budget allocations</a:t>
            </a:r>
          </a:p>
        </p:txBody>
      </p:sp>
      <p:sp>
        <p:nvSpPr>
          <p:cNvPr id="22" name="Rectangle 21"/>
          <p:cNvSpPr/>
          <p:nvPr/>
        </p:nvSpPr>
        <p:spPr bwMode="auto">
          <a:xfrm>
            <a:off x="4998947" y="1805445"/>
            <a:ext cx="2011394" cy="1938253"/>
          </a:xfrm>
          <a:prstGeom prst="rect">
            <a:avLst/>
          </a:prstGeom>
          <a:solidFill>
            <a:srgbClr val="00B0F0">
              <a:alpha val="90000"/>
            </a:srgb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37141" tIns="137141" rIns="137141" bIns="137141" numCol="1" rtlCol="0" anchor="t" anchorCtr="0" compatLnSpc="1">
            <a:prstTxWarp prst="textNoShape">
              <a:avLst/>
            </a:prstTxWarp>
          </a:bodyPr>
          <a:lstStyle/>
          <a:p>
            <a:pPr marL="0" marR="0" lvl="0" indent="0" algn="l" defTabSz="913924" rtl="0" eaLnBrk="1" fontAlgn="base" latinLnBrk="0" hangingPunct="1">
              <a:lnSpc>
                <a:spcPct val="100000"/>
              </a:lnSpc>
              <a:spcBef>
                <a:spcPct val="0"/>
              </a:spcBef>
              <a:spcAft>
                <a:spcPts val="120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Segoe UI Semilight"/>
                <a:ea typeface="Segoe UI" panose="020B0502040204020203" pitchFamily="34" charset="0"/>
                <a:cs typeface="Segoe UI" panose="020B0502040204020203" pitchFamily="34" charset="0"/>
              </a:rPr>
              <a:t>Help </a:t>
            </a:r>
            <a:r>
              <a:rPr kumimoji="0" lang="en-US" sz="1600" b="1" i="0" u="none" strike="noStrike" kern="1200" cap="none" spc="0" normalizeH="0" baseline="0" noProof="0" dirty="0">
                <a:ln>
                  <a:noFill/>
                </a:ln>
                <a:solidFill>
                  <a:prstClr val="white"/>
                </a:solidFill>
                <a:effectLst/>
                <a:uLnTx/>
                <a:uFillTx/>
                <a:latin typeface="Segoe UI Semilight"/>
                <a:ea typeface="Segoe UI" panose="020B0502040204020203" pitchFamily="34" charset="0"/>
                <a:cs typeface="Segoe UI" panose="020B0502040204020203" pitchFamily="34" charset="0"/>
              </a:rPr>
              <a:t>drive student outcomes </a:t>
            </a:r>
            <a:r>
              <a:rPr kumimoji="0" lang="en-US" sz="1600" b="0" i="0" u="none" strike="noStrike" kern="1200" cap="none" spc="0" normalizeH="0" baseline="0" noProof="0" dirty="0">
                <a:ln>
                  <a:noFill/>
                </a:ln>
                <a:solidFill>
                  <a:prstClr val="white"/>
                </a:solidFill>
                <a:effectLst/>
                <a:uLnTx/>
                <a:uFillTx/>
                <a:latin typeface="Segoe UI Semilight"/>
                <a:ea typeface="Segoe UI" panose="020B0502040204020203" pitchFamily="34" charset="0"/>
                <a:cs typeface="Segoe UI" panose="020B0502040204020203" pitchFamily="34" charset="0"/>
              </a:rPr>
              <a:t>with a personalized self service experience</a:t>
            </a:r>
          </a:p>
        </p:txBody>
      </p:sp>
      <p:sp>
        <p:nvSpPr>
          <p:cNvPr id="23" name="Rectangle 22"/>
          <p:cNvSpPr/>
          <p:nvPr/>
        </p:nvSpPr>
        <p:spPr bwMode="auto">
          <a:xfrm>
            <a:off x="7339410" y="3529948"/>
            <a:ext cx="2011394" cy="1938253"/>
          </a:xfrm>
          <a:prstGeom prst="rect">
            <a:avLst/>
          </a:prstGeom>
          <a:solidFill>
            <a:srgbClr val="00B0F0">
              <a:alpha val="90000"/>
            </a:srgb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37141" tIns="137141" rIns="137141" bIns="137141" numCol="1" rtlCol="0" anchor="t" anchorCtr="0" compatLnSpc="1">
            <a:prstTxWarp prst="textNoShape">
              <a:avLst/>
            </a:prstTxWarp>
          </a:bodyPr>
          <a:lstStyle/>
          <a:p>
            <a:pPr marL="0" marR="0" lvl="0" indent="0" algn="l" defTabSz="913924" rtl="0" eaLnBrk="1" fontAlgn="base" latinLnBrk="0" hangingPunct="1">
              <a:lnSpc>
                <a:spcPct val="100000"/>
              </a:lnSpc>
              <a:spcBef>
                <a:spcPct val="0"/>
              </a:spcBef>
              <a:spcAft>
                <a:spcPts val="120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Segoe UI Semilight"/>
                <a:ea typeface="Segoe UI" panose="020B0502040204020203" pitchFamily="34" charset="0"/>
                <a:cs typeface="Segoe UI" panose="020B0502040204020203" pitchFamily="34" charset="0"/>
              </a:rPr>
              <a:t>Improve flexibility, </a:t>
            </a:r>
            <a:r>
              <a:rPr kumimoji="0" lang="en-US" sz="1600" b="1" i="0" u="none" strike="noStrike" kern="1200" cap="none" spc="0" normalizeH="0" baseline="0" noProof="0" dirty="0">
                <a:ln>
                  <a:noFill/>
                </a:ln>
                <a:solidFill>
                  <a:prstClr val="white"/>
                </a:solidFill>
                <a:effectLst/>
                <a:uLnTx/>
                <a:uFillTx/>
                <a:latin typeface="Segoe UI Semilight"/>
                <a:ea typeface="Segoe UI" panose="020B0502040204020203" pitchFamily="34" charset="0"/>
                <a:cs typeface="Segoe UI" panose="020B0502040204020203" pitchFamily="34" charset="0"/>
              </a:rPr>
              <a:t>reduce costs</a:t>
            </a:r>
            <a:r>
              <a:rPr kumimoji="0" lang="en-US" sz="1600" b="0" i="0" u="none" strike="noStrike" kern="1200" cap="none" spc="0" normalizeH="0" baseline="0" noProof="0" dirty="0">
                <a:ln>
                  <a:noFill/>
                </a:ln>
                <a:solidFill>
                  <a:prstClr val="white"/>
                </a:solidFill>
                <a:effectLst/>
                <a:uLnTx/>
                <a:uFillTx/>
                <a:latin typeface="Segoe UI Semilight"/>
                <a:ea typeface="Segoe UI" panose="020B0502040204020203" pitchFamily="34" charset="0"/>
                <a:cs typeface="Segoe UI" panose="020B0502040204020203" pitchFamily="34" charset="0"/>
              </a:rPr>
              <a:t>, and provide the tools to work efficiently </a:t>
            </a:r>
          </a:p>
        </p:txBody>
      </p:sp>
      <p:sp>
        <p:nvSpPr>
          <p:cNvPr id="24" name="Rectangle 23"/>
          <p:cNvSpPr/>
          <p:nvPr/>
        </p:nvSpPr>
        <p:spPr bwMode="auto">
          <a:xfrm>
            <a:off x="7339409" y="6072417"/>
            <a:ext cx="2403552" cy="355179"/>
          </a:xfrm>
          <a:prstGeom prst="rect">
            <a:avLst/>
          </a:prstGeom>
          <a:solidFill>
            <a:schemeClr val="tx1">
              <a:alpha val="9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37141" tIns="137141" rIns="137141" bIns="137141" numCol="1" rtlCol="0" anchor="ctr" anchorCtr="0" compatLnSpc="1">
            <a:prstTxWarp prst="textNoShape">
              <a:avLst/>
            </a:prstTxWarp>
          </a:bodyPr>
          <a:lstStyle/>
          <a:p>
            <a:pPr marL="0" marR="0" lvl="0" indent="0" algn="ctr" defTabSz="913924" rtl="0" eaLnBrk="1" fontAlgn="base" latinLnBrk="0" hangingPunct="1">
              <a:lnSpc>
                <a:spcPct val="100000"/>
              </a:lnSpc>
              <a:spcBef>
                <a:spcPct val="0"/>
              </a:spcBef>
              <a:spcAft>
                <a:spcPts val="1200"/>
              </a:spcAft>
              <a:buClrTx/>
              <a:buSzTx/>
              <a:buFontTx/>
              <a:buNone/>
              <a:tabLst/>
              <a:defRPr/>
            </a:pPr>
            <a:r>
              <a:rPr kumimoji="0" lang="en-US" sz="1300" b="0" i="0" u="none" strike="noStrike" kern="1200" cap="none" spc="0" normalizeH="0" baseline="0" noProof="0" dirty="0">
                <a:ln>
                  <a:noFill/>
                </a:ln>
                <a:solidFill>
                  <a:srgbClr val="FFFFFF"/>
                </a:solidFill>
                <a:effectLst/>
                <a:uLnTx/>
                <a:uFillTx/>
                <a:latin typeface="Segoe UI Semilight"/>
                <a:ea typeface="Segoe UI" panose="020B0502040204020203" pitchFamily="34" charset="0"/>
                <a:cs typeface="Segoe UI" panose="020B0502040204020203" pitchFamily="34" charset="0"/>
              </a:rPr>
              <a:t>Costs, Efficiency &amp;  Analytics</a:t>
            </a:r>
          </a:p>
        </p:txBody>
      </p:sp>
      <p:sp>
        <p:nvSpPr>
          <p:cNvPr id="25" name="Rectangle 24"/>
          <p:cNvSpPr/>
          <p:nvPr/>
        </p:nvSpPr>
        <p:spPr bwMode="auto">
          <a:xfrm>
            <a:off x="5008717" y="6085802"/>
            <a:ext cx="2011394" cy="355179"/>
          </a:xfrm>
          <a:prstGeom prst="rect">
            <a:avLst/>
          </a:prstGeom>
          <a:solidFill>
            <a:schemeClr val="tx1">
              <a:alpha val="9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37141" tIns="137141" rIns="137141" bIns="137141" numCol="1" rtlCol="0" anchor="ctr" anchorCtr="0" compatLnSpc="1">
            <a:prstTxWarp prst="textNoShape">
              <a:avLst/>
            </a:prstTxWarp>
          </a:bodyPr>
          <a:lstStyle/>
          <a:p>
            <a:pPr marL="0" marR="0" lvl="0" indent="0" algn="ctr" defTabSz="913924" rtl="0" eaLnBrk="1" fontAlgn="base" latinLnBrk="0" hangingPunct="1">
              <a:lnSpc>
                <a:spcPct val="100000"/>
              </a:lnSpc>
              <a:spcBef>
                <a:spcPct val="0"/>
              </a:spcBef>
              <a:spcAft>
                <a:spcPts val="1200"/>
              </a:spcAft>
              <a:buClrTx/>
              <a:buSzTx/>
              <a:buFontTx/>
              <a:buNone/>
              <a:tabLst/>
              <a:defRPr/>
            </a:pPr>
            <a:r>
              <a:rPr kumimoji="0" lang="en-US" sz="1300" b="0" i="0" u="none" strike="noStrike" kern="1200" cap="none" spc="0" normalizeH="0" baseline="0" noProof="0" dirty="0">
                <a:ln>
                  <a:noFill/>
                </a:ln>
                <a:solidFill>
                  <a:srgbClr val="FFFFFF"/>
                </a:solidFill>
                <a:effectLst/>
                <a:uLnTx/>
                <a:uFillTx/>
                <a:latin typeface="Segoe UI Semilight"/>
                <a:ea typeface="Segoe UI" panose="020B0502040204020203" pitchFamily="34" charset="0"/>
                <a:cs typeface="Segoe UI" panose="020B0502040204020203" pitchFamily="34" charset="0"/>
              </a:rPr>
              <a:t>Engaged Students</a:t>
            </a:r>
          </a:p>
        </p:txBody>
      </p:sp>
      <p:sp>
        <p:nvSpPr>
          <p:cNvPr id="27" name="Rectangle 26"/>
          <p:cNvSpPr/>
          <p:nvPr/>
        </p:nvSpPr>
        <p:spPr bwMode="auto">
          <a:xfrm>
            <a:off x="2692862" y="6052957"/>
            <a:ext cx="2011394" cy="355179"/>
          </a:xfrm>
          <a:prstGeom prst="rect">
            <a:avLst/>
          </a:prstGeom>
          <a:solidFill>
            <a:schemeClr val="tx1">
              <a:alpha val="9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37141" tIns="137141" rIns="137141" bIns="137141" numCol="1" rtlCol="0" anchor="ctr" anchorCtr="0" compatLnSpc="1">
            <a:prstTxWarp prst="textNoShape">
              <a:avLst/>
            </a:prstTxWarp>
          </a:bodyPr>
          <a:lstStyle/>
          <a:p>
            <a:pPr marL="0" marR="0" lvl="0" indent="0" algn="ctr" defTabSz="913924" rtl="0" eaLnBrk="1" fontAlgn="base" latinLnBrk="0" hangingPunct="1">
              <a:lnSpc>
                <a:spcPct val="100000"/>
              </a:lnSpc>
              <a:spcBef>
                <a:spcPct val="0"/>
              </a:spcBef>
              <a:spcAft>
                <a:spcPts val="1200"/>
              </a:spcAft>
              <a:buClrTx/>
              <a:buSzTx/>
              <a:buFontTx/>
              <a:buNone/>
              <a:tabLst/>
              <a:defRPr/>
            </a:pPr>
            <a:r>
              <a:rPr kumimoji="0" lang="en-US" sz="1300" b="0" i="0" u="none" strike="noStrike" kern="1200" cap="none" spc="0" normalizeH="0" baseline="0" noProof="0" dirty="0">
                <a:ln>
                  <a:noFill/>
                </a:ln>
                <a:solidFill>
                  <a:srgbClr val="FFFFFF"/>
                </a:solidFill>
                <a:effectLst/>
                <a:uLnTx/>
                <a:uFillTx/>
                <a:latin typeface="Segoe UI Semilight"/>
                <a:ea typeface="Segoe UI" panose="020B0502040204020203" pitchFamily="34" charset="0"/>
                <a:cs typeface="Segoe UI" panose="020B0502040204020203" pitchFamily="34" charset="0"/>
              </a:rPr>
              <a:t>Connected Campus</a:t>
            </a:r>
          </a:p>
        </p:txBody>
      </p:sp>
      <p:sp>
        <p:nvSpPr>
          <p:cNvPr id="28" name="Rectangle 27"/>
          <p:cNvSpPr/>
          <p:nvPr/>
        </p:nvSpPr>
        <p:spPr bwMode="auto">
          <a:xfrm>
            <a:off x="381810" y="6052958"/>
            <a:ext cx="2011394" cy="355179"/>
          </a:xfrm>
          <a:prstGeom prst="rect">
            <a:avLst/>
          </a:prstGeom>
          <a:solidFill>
            <a:schemeClr val="tx1">
              <a:alpha val="9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37141" tIns="137141" rIns="137141" bIns="137141" numCol="1" rtlCol="0" anchor="ctr" anchorCtr="0" compatLnSpc="1">
            <a:prstTxWarp prst="textNoShape">
              <a:avLst/>
            </a:prstTxWarp>
          </a:bodyPr>
          <a:lstStyle/>
          <a:p>
            <a:pPr marL="0" marR="0" lvl="0" indent="0" algn="ctr" defTabSz="913924" rtl="0" eaLnBrk="1" fontAlgn="base" latinLnBrk="0" hangingPunct="1">
              <a:lnSpc>
                <a:spcPct val="100000"/>
              </a:lnSpc>
              <a:spcBef>
                <a:spcPct val="0"/>
              </a:spcBef>
              <a:spcAft>
                <a:spcPts val="1200"/>
              </a:spcAft>
              <a:buClrTx/>
              <a:buSzTx/>
              <a:buFontTx/>
              <a:buNone/>
              <a:tabLst/>
              <a:defRPr/>
            </a:pPr>
            <a:r>
              <a:rPr kumimoji="0" lang="en-US" sz="1300" b="0" i="0" u="none" strike="noStrike" kern="1200" cap="none" spc="0" normalizeH="0" baseline="0" noProof="0" dirty="0">
                <a:ln>
                  <a:noFill/>
                </a:ln>
                <a:solidFill>
                  <a:srgbClr val="FFFFFF"/>
                </a:solidFill>
                <a:effectLst/>
                <a:uLnTx/>
                <a:uFillTx/>
                <a:latin typeface="Segoe UI Semilight"/>
                <a:ea typeface="Segoe UI" panose="020B0502040204020203" pitchFamily="34" charset="0"/>
                <a:cs typeface="Segoe UI" panose="020B0502040204020203" pitchFamily="34" charset="0"/>
              </a:rPr>
              <a:t>Business Intelligence</a:t>
            </a:r>
          </a:p>
        </p:txBody>
      </p:sp>
    </p:spTree>
    <p:extLst>
      <p:ext uri="{BB962C8B-B14F-4D97-AF65-F5344CB8AC3E}">
        <p14:creationId xmlns:p14="http://schemas.microsoft.com/office/powerpoint/2010/main" val="1826139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H.ZB7CjFnUSxw7mfRE5I9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ZB7CjFnUSxw7mfRE5I9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ZB7CjFnUSxw7mfRE5I9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ZB7CjFnUSxw7mfRE5I9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ZB7CjFnUSxw7mfRE5I9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H.ZB7CjFnUSxw7mfRE5I9g"/>
</p:tagLst>
</file>

<file path=ppt/theme/theme1.xml><?xml version="1.0" encoding="utf-8"?>
<a:theme xmlns:a="http://schemas.openxmlformats.org/drawingml/2006/main" name="1_Windows Server">
  <a:themeElements>
    <a:clrScheme name="SQL Server">
      <a:dk1>
        <a:srgbClr val="505050"/>
      </a:dk1>
      <a:lt1>
        <a:srgbClr val="FFFFFF"/>
      </a:lt1>
      <a:dk2>
        <a:srgbClr val="BA141A"/>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FC80AC6-014F-43DA-AA47-AE26B0C097B8}"/>
    </a:ext>
  </a:extLst>
</a:theme>
</file>

<file path=ppt/theme/theme2.xml><?xml version="1.0" encoding="utf-8"?>
<a:theme xmlns:a="http://schemas.openxmlformats.org/drawingml/2006/main" name="SQL Server 14_DRAFT_04222013_ab">
  <a:themeElements>
    <a:clrScheme name="Custom 14">
      <a:dk1>
        <a:srgbClr val="505050"/>
      </a:dk1>
      <a:lt1>
        <a:srgbClr val="FFFFFF"/>
      </a:lt1>
      <a:dk2>
        <a:srgbClr val="505050"/>
      </a:dk2>
      <a:lt2>
        <a:srgbClr val="969696"/>
      </a:lt2>
      <a:accent1>
        <a:srgbClr val="00187B"/>
      </a:accent1>
      <a:accent2>
        <a:srgbClr val="7FBA00"/>
      </a:accent2>
      <a:accent3>
        <a:srgbClr val="FF8C00"/>
      </a:accent3>
      <a:accent4>
        <a:srgbClr val="00BCF2"/>
      </a:accent4>
      <a:accent5>
        <a:srgbClr val="E81123"/>
      </a:accent5>
      <a:accent6>
        <a:srgbClr val="FFB900"/>
      </a:accent6>
      <a:hlink>
        <a:srgbClr val="00187B"/>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lumMod val="75000"/>
          </a:schemeClr>
        </a:solidFill>
        <a:ln w="3175">
          <a:noFill/>
          <a:headEnd type="none" w="med" len="med"/>
          <a:tailEnd type="none" w="med" len="med"/>
        </a:ln>
      </a:spPr>
      <a:bodyPr vert="horz" wrap="square" lIns="91440" tIns="46637" rIns="0" bIns="46637" numCol="1" rtlCol="0" anchor="ctr" anchorCtr="0" compatLnSpc="1">
        <a:prstTxWarp prst="textNoShape">
          <a:avLst/>
        </a:prstTxWarp>
      </a:bodyPr>
      <a:lstStyle>
        <a:defPPr marL="342900" indent="-342900" defTabSz="932472" fontAlgn="base">
          <a:spcBef>
            <a:spcPct val="0"/>
          </a:spcBef>
          <a:spcAft>
            <a:spcPct val="0"/>
          </a:spcAft>
          <a:buFont typeface="Arial" pitchFamily="34" charset="0"/>
          <a:buChar char="•"/>
          <a:defRPr sz="2000" dirty="0" smtClean="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External_Template_16x9" id="{2FE55D51-FEBC-4A42-A4CB-0C1E7CD67338}" vid="{6B9A7899-6FE2-4C34-8CB1-94B9A5D7B2AB}"/>
    </a:ext>
  </a:extLst>
</a:theme>
</file>

<file path=ppt/theme/theme3.xml><?xml version="1.0" encoding="utf-8"?>
<a:theme xmlns:a="http://schemas.openxmlformats.org/drawingml/2006/main" name="3_FY18 Enterprise">
  <a:themeElements>
    <a:clrScheme name="Custom 2">
      <a:dk1>
        <a:srgbClr val="353535"/>
      </a:dk1>
      <a:lt1>
        <a:srgbClr val="FFFFFF"/>
      </a:lt1>
      <a:dk2>
        <a:srgbClr val="0078D7"/>
      </a:dk2>
      <a:lt2>
        <a:srgbClr val="F2F2F2"/>
      </a:lt2>
      <a:accent1>
        <a:srgbClr val="0078D7"/>
      </a:accent1>
      <a:accent2>
        <a:srgbClr val="002050"/>
      </a:accent2>
      <a:accent3>
        <a:srgbClr val="00BCF2"/>
      </a:accent3>
      <a:accent4>
        <a:srgbClr val="D83B01"/>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Y18 Enterprise" id="{E72F3315-1010-49DB-9886-4D4C2CF5FD95}" vid="{819BFA2A-E2CF-41B2-903A-3ECB1391740E}"/>
    </a:ext>
  </a:extLst>
</a:theme>
</file>

<file path=ppt/theme/theme4.xml><?xml version="1.0" encoding="utf-8"?>
<a:theme xmlns:a="http://schemas.openxmlformats.org/drawingml/2006/main" name="1_FY18 Enterprise">
  <a:themeElements>
    <a:clrScheme name="Custom 2">
      <a:dk1>
        <a:srgbClr val="353535"/>
      </a:dk1>
      <a:lt1>
        <a:srgbClr val="FFFFFF"/>
      </a:lt1>
      <a:dk2>
        <a:srgbClr val="0078D7"/>
      </a:dk2>
      <a:lt2>
        <a:srgbClr val="F2F2F2"/>
      </a:lt2>
      <a:accent1>
        <a:srgbClr val="0078D7"/>
      </a:accent1>
      <a:accent2>
        <a:srgbClr val="002050"/>
      </a:accent2>
      <a:accent3>
        <a:srgbClr val="00BCF2"/>
      </a:accent3>
      <a:accent4>
        <a:srgbClr val="D83B01"/>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Y18 Enterprise" id="{E72F3315-1010-49DB-9886-4D4C2CF5FD95}" vid="{819BFA2A-E2CF-41B2-903A-3ECB1391740E}"/>
    </a:ext>
  </a:extLst>
</a:theme>
</file>

<file path=ppt/theme/theme5.xml><?xml version="1.0" encoding="utf-8"?>
<a:theme xmlns:a="http://schemas.openxmlformats.org/drawingml/2006/main" name="1_Windows 10 Brand Template 16x9">
  <a:themeElements>
    <a:clrScheme name="Windows 10">
      <a:dk1>
        <a:srgbClr val="505050"/>
      </a:dk1>
      <a:lt1>
        <a:srgbClr val="FFFFFF"/>
      </a:lt1>
      <a:dk2>
        <a:srgbClr val="0078D7"/>
      </a:dk2>
      <a:lt2>
        <a:srgbClr val="EAEAEA"/>
      </a:lt2>
      <a:accent1>
        <a:srgbClr val="0078D7"/>
      </a:accent1>
      <a:accent2>
        <a:srgbClr val="002050"/>
      </a:accent2>
      <a:accent3>
        <a:srgbClr val="008272"/>
      </a:accent3>
      <a:accent4>
        <a:srgbClr val="107C10"/>
      </a:accent4>
      <a:accent5>
        <a:srgbClr val="092D91"/>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69850" cap="rnd">
          <a:solidFill>
            <a:schemeClr val="bg1">
              <a:lumMod val="75000"/>
            </a:schemeClr>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FD425C35-B058-4CFD-9184-11AE0751879F}" vid="{C12E7965-FA63-4980-B27D-8E088AD585E5}"/>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75B7ED65DC0E24C979C8E914727CF80" ma:contentTypeVersion="2" ma:contentTypeDescription="Create a new document." ma:contentTypeScope="" ma:versionID="597ba4ebfaea9f5ecf54173468535b1a">
  <xsd:schema xmlns:xsd="http://www.w3.org/2001/XMLSchema" xmlns:xs="http://www.w3.org/2001/XMLSchema" xmlns:p="http://schemas.microsoft.com/office/2006/metadata/properties" xmlns:ns2="f3428685-e50d-4878-88ca-540fe82b4651" targetNamespace="http://schemas.microsoft.com/office/2006/metadata/properties" ma:root="true" ma:fieldsID="91d74ca39137734d1a1a9c8e8f1a8e06" ns2:_="">
    <xsd:import namespace="f3428685-e50d-4878-88ca-540fe82b4651"/>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3428685-e50d-4878-88ca-540fe82b465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1196F03-7B99-4899-ACCB-D757DC5350DB}">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629AF017-3783-458A-A1AE-36996BE13CFB}">
  <ds:schemaRefs>
    <ds:schemaRef ds:uri="http://schemas.microsoft.com/sharepoint/v3/contenttype/forms"/>
  </ds:schemaRefs>
</ds:datastoreItem>
</file>

<file path=customXml/itemProps3.xml><?xml version="1.0" encoding="utf-8"?>
<ds:datastoreItem xmlns:ds="http://schemas.openxmlformats.org/officeDocument/2006/customXml" ds:itemID="{BB57EBA5-ADED-4911-A7CC-8F5CAF0B2F08}"/>
</file>

<file path=docProps/app.xml><?xml version="1.0" encoding="utf-8"?>
<Properties xmlns="http://schemas.openxmlformats.org/officeDocument/2006/extended-properties" xmlns:vt="http://schemas.openxmlformats.org/officeDocument/2006/docPropsVTypes">
  <TotalTime>9686</TotalTime>
  <Words>2165</Words>
  <Application>Microsoft Office PowerPoint</Application>
  <PresentationFormat>Widescreen</PresentationFormat>
  <Paragraphs>319</Paragraphs>
  <Slides>27</Slides>
  <Notes>27</Notes>
  <HiddenSlides>0</HiddenSlides>
  <MMClips>0</MMClips>
  <ScaleCrop>false</ScaleCrop>
  <HeadingPairs>
    <vt:vector size="8" baseType="variant">
      <vt:variant>
        <vt:lpstr>Fonts Used</vt:lpstr>
      </vt:variant>
      <vt:variant>
        <vt:i4>9</vt:i4>
      </vt:variant>
      <vt:variant>
        <vt:lpstr>Theme</vt:lpstr>
      </vt:variant>
      <vt:variant>
        <vt:i4>5</vt:i4>
      </vt:variant>
      <vt:variant>
        <vt:lpstr>Embedded OLE Servers</vt:lpstr>
      </vt:variant>
      <vt:variant>
        <vt:i4>1</vt:i4>
      </vt:variant>
      <vt:variant>
        <vt:lpstr>Slide Titles</vt:lpstr>
      </vt:variant>
      <vt:variant>
        <vt:i4>27</vt:i4>
      </vt:variant>
    </vt:vector>
  </HeadingPairs>
  <TitlesOfParts>
    <vt:vector size="42" baseType="lpstr">
      <vt:lpstr>Arial</vt:lpstr>
      <vt:lpstr>Segoe UI</vt:lpstr>
      <vt:lpstr>Segoe UI bold</vt:lpstr>
      <vt:lpstr>Segoe UI Light</vt:lpstr>
      <vt:lpstr>Segoe UI Semibold</vt:lpstr>
      <vt:lpstr>Segoe UI Semilight</vt:lpstr>
      <vt:lpstr>Symbol</vt:lpstr>
      <vt:lpstr>Times New Roman</vt:lpstr>
      <vt:lpstr>Wingdings</vt:lpstr>
      <vt:lpstr>1_Windows Server</vt:lpstr>
      <vt:lpstr>SQL Server 14_DRAFT_04222013_ab</vt:lpstr>
      <vt:lpstr>3_FY18 Enterprise</vt:lpstr>
      <vt:lpstr>1_FY18 Enterprise</vt:lpstr>
      <vt:lpstr>1_Windows 10 Brand Template 16x9</vt:lpstr>
      <vt:lpstr>think-cell Slide</vt:lpstr>
      <vt:lpstr>Selling EDU Predictive Analytics Solution </vt:lpstr>
      <vt:lpstr>Key Influencers/Decision-makers</vt:lpstr>
      <vt:lpstr>PowerPoint Presentation</vt:lpstr>
      <vt:lpstr>Today’s statistics should have no place in our children‘s tomorrows </vt:lpstr>
      <vt:lpstr>Fast Facts</vt:lpstr>
      <vt:lpstr>Driving Institutional Effectiveness</vt:lpstr>
      <vt:lpstr>PowerPoint Presentation</vt:lpstr>
      <vt:lpstr>Big Data + Predictive Analytics = Business Value</vt:lpstr>
      <vt:lpstr>PowerPoint Presentation</vt:lpstr>
      <vt:lpstr>Driving Institutional Effectiveness</vt:lpstr>
      <vt:lpstr>PowerPoint Presentation</vt:lpstr>
      <vt:lpstr>PowerPoint Presentation</vt:lpstr>
      <vt:lpstr>PowerPoint Presentation</vt:lpstr>
      <vt:lpstr>PowerPoint Presentation</vt:lpstr>
      <vt:lpstr>Intelligent solutions with Azure</vt:lpstr>
      <vt:lpstr>Solution Benefits</vt:lpstr>
      <vt:lpstr>Reference Architecture</vt:lpstr>
      <vt:lpstr>PowerPoint Presentation</vt:lpstr>
      <vt:lpstr>PowerPoint Presentation</vt:lpstr>
      <vt:lpstr>The Complete Prospect Interview</vt:lpstr>
      <vt:lpstr>Lead Qualification</vt:lpstr>
      <vt:lpstr>Listen for  these pains:</vt:lpstr>
      <vt:lpstr>Engage in Conversation</vt:lpstr>
      <vt:lpstr>Objection  Handling</vt:lpstr>
      <vt:lpstr>Azure - Built for Enterprise scale</vt:lpstr>
      <vt:lpstr>Call to Ac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ome Slides Need Customizing</dc:title>
  <dc:creator>Nic Wildeman</dc:creator>
  <cp:lastModifiedBy>Ram Peruvemba</cp:lastModifiedBy>
  <cp:revision>289</cp:revision>
  <dcterms:created xsi:type="dcterms:W3CDTF">2015-06-18T21:20:50Z</dcterms:created>
  <dcterms:modified xsi:type="dcterms:W3CDTF">2018-01-16T21:39: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ContentTypeId">
    <vt:lpwstr>0x010100775B7ED65DC0E24C979C8E914727CF80</vt:lpwstr>
  </property>
</Properties>
</file>